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27"/>
  </p:notesMasterIdLst>
  <p:sldIdLst>
    <p:sldId id="256" r:id="rId6"/>
    <p:sldId id="3983" r:id="rId7"/>
    <p:sldId id="4002" r:id="rId8"/>
    <p:sldId id="3984" r:id="rId9"/>
    <p:sldId id="4018" r:id="rId10"/>
    <p:sldId id="4017" r:id="rId11"/>
    <p:sldId id="4020" r:id="rId12"/>
    <p:sldId id="4019" r:id="rId13"/>
    <p:sldId id="4043" r:id="rId14"/>
    <p:sldId id="4035" r:id="rId15"/>
    <p:sldId id="4036" r:id="rId16"/>
    <p:sldId id="4025" r:id="rId17"/>
    <p:sldId id="4037" r:id="rId18"/>
    <p:sldId id="4038" r:id="rId19"/>
    <p:sldId id="4039" r:id="rId20"/>
    <p:sldId id="4040" r:id="rId21"/>
    <p:sldId id="4031" r:id="rId22"/>
    <p:sldId id="5244" r:id="rId23"/>
    <p:sldId id="4033" r:id="rId24"/>
    <p:sldId id="5243" r:id="rId25"/>
    <p:sldId id="4041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az, Alejandro" initials="DA" lastIdx="3" clrIdx="0">
    <p:extLst>
      <p:ext uri="{19B8F6BF-5375-455C-9EA6-DF929625EA0E}">
        <p15:presenceInfo xmlns:p15="http://schemas.microsoft.com/office/powerpoint/2012/main" userId="S::diaz.alejandro@te.com::d4eefc26-6842-456c-9aaf-2c316c8c66c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7B7B7"/>
    <a:srgbClr val="A3A3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AE8D47-1D1F-4CD1-80F8-89A85DAF34CF}" v="12" dt="2020-12-15T11:22:32.2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244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'Neill, Dermot" userId="c1739f7e-8674-4e5d-ad7e-0c71b0662095" providerId="ADAL" clId="{CDAE8D47-1D1F-4CD1-80F8-89A85DAF34CF}"/>
    <pc:docChg chg="modSld">
      <pc:chgData name="O'Neill, Dermot" userId="c1739f7e-8674-4e5d-ad7e-0c71b0662095" providerId="ADAL" clId="{CDAE8D47-1D1F-4CD1-80F8-89A85DAF34CF}" dt="2020-12-15T11:22:32.207" v="11"/>
      <pc:docMkLst>
        <pc:docMk/>
      </pc:docMkLst>
      <pc:sldChg chg="modSp">
        <pc:chgData name="O'Neill, Dermot" userId="c1739f7e-8674-4e5d-ad7e-0c71b0662095" providerId="ADAL" clId="{CDAE8D47-1D1F-4CD1-80F8-89A85DAF34CF}" dt="2020-12-15T10:38:29.887" v="0" actId="113"/>
        <pc:sldMkLst>
          <pc:docMk/>
          <pc:sldMk cId="1466373986" sldId="4017"/>
        </pc:sldMkLst>
        <pc:spChg chg="mod">
          <ac:chgData name="O'Neill, Dermot" userId="c1739f7e-8674-4e5d-ad7e-0c71b0662095" providerId="ADAL" clId="{CDAE8D47-1D1F-4CD1-80F8-89A85DAF34CF}" dt="2020-12-15T10:38:29.887" v="0" actId="113"/>
          <ac:spMkLst>
            <pc:docMk/>
            <pc:sldMk cId="1466373986" sldId="4017"/>
            <ac:spMk id="3" creationId="{48096BE6-560D-4175-9E22-0E48127222C1}"/>
          </ac:spMkLst>
        </pc:spChg>
      </pc:sldChg>
      <pc:sldChg chg="addSp modSp modAnim">
        <pc:chgData name="O'Neill, Dermot" userId="c1739f7e-8674-4e5d-ad7e-0c71b0662095" providerId="ADAL" clId="{CDAE8D47-1D1F-4CD1-80F8-89A85DAF34CF}" dt="2020-12-15T11:22:32.207" v="11"/>
        <pc:sldMkLst>
          <pc:docMk/>
          <pc:sldMk cId="2817796022" sldId="4019"/>
        </pc:sldMkLst>
        <pc:spChg chg="mod">
          <ac:chgData name="O'Neill, Dermot" userId="c1739f7e-8674-4e5d-ad7e-0c71b0662095" providerId="ADAL" clId="{CDAE8D47-1D1F-4CD1-80F8-89A85DAF34CF}" dt="2020-12-15T11:22:07.994" v="6" actId="164"/>
          <ac:spMkLst>
            <pc:docMk/>
            <pc:sldMk cId="2817796022" sldId="4019"/>
            <ac:spMk id="4" creationId="{D5E95527-A109-4DFA-8DEE-23FC3530B026}"/>
          </ac:spMkLst>
        </pc:spChg>
        <pc:spChg chg="mod">
          <ac:chgData name="O'Neill, Dermot" userId="c1739f7e-8674-4e5d-ad7e-0c71b0662095" providerId="ADAL" clId="{CDAE8D47-1D1F-4CD1-80F8-89A85DAF34CF}" dt="2020-12-15T11:22:14.265" v="7" actId="164"/>
          <ac:spMkLst>
            <pc:docMk/>
            <pc:sldMk cId="2817796022" sldId="4019"/>
            <ac:spMk id="5" creationId="{3D51F0CA-62CF-46E5-89A1-4306C43EF33B}"/>
          </ac:spMkLst>
        </pc:spChg>
        <pc:spChg chg="mod">
          <ac:chgData name="O'Neill, Dermot" userId="c1739f7e-8674-4e5d-ad7e-0c71b0662095" providerId="ADAL" clId="{CDAE8D47-1D1F-4CD1-80F8-89A85DAF34CF}" dt="2020-12-15T11:22:20.623" v="8" actId="164"/>
          <ac:spMkLst>
            <pc:docMk/>
            <pc:sldMk cId="2817796022" sldId="4019"/>
            <ac:spMk id="6" creationId="{F455E0C6-D567-438C-A7FA-C5BBBE936FED}"/>
          </ac:spMkLst>
        </pc:spChg>
        <pc:spChg chg="mod">
          <ac:chgData name="O'Neill, Dermot" userId="c1739f7e-8674-4e5d-ad7e-0c71b0662095" providerId="ADAL" clId="{CDAE8D47-1D1F-4CD1-80F8-89A85DAF34CF}" dt="2020-12-15T11:22:07.994" v="6" actId="164"/>
          <ac:spMkLst>
            <pc:docMk/>
            <pc:sldMk cId="2817796022" sldId="4019"/>
            <ac:spMk id="7" creationId="{42FE6EBB-29CA-4BBD-A695-A2F47000E652}"/>
          </ac:spMkLst>
        </pc:spChg>
        <pc:spChg chg="mod">
          <ac:chgData name="O'Neill, Dermot" userId="c1739f7e-8674-4e5d-ad7e-0c71b0662095" providerId="ADAL" clId="{CDAE8D47-1D1F-4CD1-80F8-89A85DAF34CF}" dt="2020-12-15T11:22:14.265" v="7" actId="164"/>
          <ac:spMkLst>
            <pc:docMk/>
            <pc:sldMk cId="2817796022" sldId="4019"/>
            <ac:spMk id="8" creationId="{54D53649-278E-49D4-A752-96B794B4D5B1}"/>
          </ac:spMkLst>
        </pc:spChg>
        <pc:spChg chg="mod">
          <ac:chgData name="O'Neill, Dermot" userId="c1739f7e-8674-4e5d-ad7e-0c71b0662095" providerId="ADAL" clId="{CDAE8D47-1D1F-4CD1-80F8-89A85DAF34CF}" dt="2020-12-15T11:22:20.623" v="8" actId="164"/>
          <ac:spMkLst>
            <pc:docMk/>
            <pc:sldMk cId="2817796022" sldId="4019"/>
            <ac:spMk id="9" creationId="{6562F49E-6B8C-40E1-93D7-9E3EF17A40DE}"/>
          </ac:spMkLst>
        </pc:spChg>
        <pc:grpChg chg="add mod">
          <ac:chgData name="O'Neill, Dermot" userId="c1739f7e-8674-4e5d-ad7e-0c71b0662095" providerId="ADAL" clId="{CDAE8D47-1D1F-4CD1-80F8-89A85DAF34CF}" dt="2020-12-15T11:22:07.994" v="6" actId="164"/>
          <ac:grpSpMkLst>
            <pc:docMk/>
            <pc:sldMk cId="2817796022" sldId="4019"/>
            <ac:grpSpMk id="14" creationId="{8284C831-5DCD-4716-AAD4-FD9329072044}"/>
          </ac:grpSpMkLst>
        </pc:grpChg>
        <pc:grpChg chg="add mod">
          <ac:chgData name="O'Neill, Dermot" userId="c1739f7e-8674-4e5d-ad7e-0c71b0662095" providerId="ADAL" clId="{CDAE8D47-1D1F-4CD1-80F8-89A85DAF34CF}" dt="2020-12-15T11:22:14.265" v="7" actId="164"/>
          <ac:grpSpMkLst>
            <pc:docMk/>
            <pc:sldMk cId="2817796022" sldId="4019"/>
            <ac:grpSpMk id="15" creationId="{6E03ADCD-30E2-4D27-9063-37804988C2DD}"/>
          </ac:grpSpMkLst>
        </pc:grpChg>
        <pc:grpChg chg="add mod">
          <ac:chgData name="O'Neill, Dermot" userId="c1739f7e-8674-4e5d-ad7e-0c71b0662095" providerId="ADAL" clId="{CDAE8D47-1D1F-4CD1-80F8-89A85DAF34CF}" dt="2020-12-15T11:22:20.623" v="8" actId="164"/>
          <ac:grpSpMkLst>
            <pc:docMk/>
            <pc:sldMk cId="2817796022" sldId="4019"/>
            <ac:grpSpMk id="16" creationId="{8FA65545-D0FD-4CD0-A0D3-A733BD7DB905}"/>
          </ac:grpSpMkLst>
        </pc:grpChg>
      </pc:sldChg>
      <pc:sldChg chg="modAnim">
        <pc:chgData name="O'Neill, Dermot" userId="c1739f7e-8674-4e5d-ad7e-0c71b0662095" providerId="ADAL" clId="{CDAE8D47-1D1F-4CD1-80F8-89A85DAF34CF}" dt="2020-12-15T11:14:01.574" v="5"/>
        <pc:sldMkLst>
          <pc:docMk/>
          <pc:sldMk cId="1438256393" sldId="4020"/>
        </pc:sldMkLst>
      </pc:sldChg>
      <pc:sldChg chg="modSp">
        <pc:chgData name="O'Neill, Dermot" userId="c1739f7e-8674-4e5d-ad7e-0c71b0662095" providerId="ADAL" clId="{CDAE8D47-1D1F-4CD1-80F8-89A85DAF34CF}" dt="2020-12-15T11:12:57.984" v="3" actId="1038"/>
        <pc:sldMkLst>
          <pc:docMk/>
          <pc:sldMk cId="2361210805" sldId="4035"/>
        </pc:sldMkLst>
        <pc:picChg chg="mod">
          <ac:chgData name="O'Neill, Dermot" userId="c1739f7e-8674-4e5d-ad7e-0c71b0662095" providerId="ADAL" clId="{CDAE8D47-1D1F-4CD1-80F8-89A85DAF34CF}" dt="2020-12-15T11:12:57.984" v="3" actId="1038"/>
          <ac:picMkLst>
            <pc:docMk/>
            <pc:sldMk cId="2361210805" sldId="4035"/>
            <ac:picMk id="2" creationId="{D691D25F-D96A-42A3-BA9C-0D4775555448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BC1B55F-0DF4-421B-A50F-174A6EC69C96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A4CE0ED4-AD1E-429E-A9CC-873BF6E0C603}">
      <dgm:prSet phldrT="[Text]"/>
      <dgm:spPr/>
      <dgm:t>
        <a:bodyPr/>
        <a:lstStyle/>
        <a:p>
          <a:r>
            <a:rPr lang="en-GB" dirty="0"/>
            <a:t>Prepare</a:t>
          </a:r>
        </a:p>
      </dgm:t>
    </dgm:pt>
    <dgm:pt modelId="{09743DA5-6C79-42CA-97B6-8A5E0F75A910}" type="parTrans" cxnId="{028375F9-3DFC-4720-B8EE-BF010FFD27E7}">
      <dgm:prSet/>
      <dgm:spPr/>
      <dgm:t>
        <a:bodyPr/>
        <a:lstStyle/>
        <a:p>
          <a:endParaRPr lang="en-GB"/>
        </a:p>
      </dgm:t>
    </dgm:pt>
    <dgm:pt modelId="{4CB0F3F7-6CFB-45CF-A9A1-84A76308008B}" type="sibTrans" cxnId="{028375F9-3DFC-4720-B8EE-BF010FFD27E7}">
      <dgm:prSet/>
      <dgm:spPr/>
      <dgm:t>
        <a:bodyPr/>
        <a:lstStyle/>
        <a:p>
          <a:endParaRPr lang="en-GB"/>
        </a:p>
      </dgm:t>
    </dgm:pt>
    <dgm:pt modelId="{6897F0A5-E8CF-4354-B040-8BD28D55A6A4}">
      <dgm:prSet phldrT="[Text]"/>
      <dgm:spPr/>
      <dgm:t>
        <a:bodyPr/>
        <a:lstStyle/>
        <a:p>
          <a:r>
            <a:rPr lang="en-GB" dirty="0"/>
            <a:t>Diagnose &amp; Design</a:t>
          </a:r>
        </a:p>
      </dgm:t>
    </dgm:pt>
    <dgm:pt modelId="{736A6DB6-0571-49C6-A095-7BE9969E64BB}" type="parTrans" cxnId="{559F64E5-0F83-48DD-8C4B-82C717E8EC76}">
      <dgm:prSet/>
      <dgm:spPr/>
      <dgm:t>
        <a:bodyPr/>
        <a:lstStyle/>
        <a:p>
          <a:endParaRPr lang="en-GB"/>
        </a:p>
      </dgm:t>
    </dgm:pt>
    <dgm:pt modelId="{1AE6D7CC-CCD6-4048-B325-0C9F7AA92088}" type="sibTrans" cxnId="{559F64E5-0F83-48DD-8C4B-82C717E8EC76}">
      <dgm:prSet/>
      <dgm:spPr/>
      <dgm:t>
        <a:bodyPr/>
        <a:lstStyle/>
        <a:p>
          <a:endParaRPr lang="en-GB"/>
        </a:p>
      </dgm:t>
    </dgm:pt>
    <dgm:pt modelId="{F872348D-E848-4C95-BB4B-AB83574BE327}">
      <dgm:prSet phldrT="[Text]"/>
      <dgm:spPr/>
      <dgm:t>
        <a:bodyPr/>
        <a:lstStyle/>
        <a:p>
          <a:r>
            <a:rPr lang="en-GB" dirty="0"/>
            <a:t>Implement</a:t>
          </a:r>
        </a:p>
      </dgm:t>
    </dgm:pt>
    <dgm:pt modelId="{EC48CDCA-B13D-4D63-97C5-E3AC7BEBD83E}" type="parTrans" cxnId="{20C3BCF9-C893-4FCC-9DFC-FD0F3CE5B004}">
      <dgm:prSet/>
      <dgm:spPr/>
      <dgm:t>
        <a:bodyPr/>
        <a:lstStyle/>
        <a:p>
          <a:endParaRPr lang="en-GB"/>
        </a:p>
      </dgm:t>
    </dgm:pt>
    <dgm:pt modelId="{904DC8A9-4C12-4932-978F-AFE58886D87F}" type="sibTrans" cxnId="{20C3BCF9-C893-4FCC-9DFC-FD0F3CE5B004}">
      <dgm:prSet/>
      <dgm:spPr/>
      <dgm:t>
        <a:bodyPr/>
        <a:lstStyle/>
        <a:p>
          <a:endParaRPr lang="en-GB"/>
        </a:p>
      </dgm:t>
    </dgm:pt>
    <dgm:pt modelId="{9C0C34FB-6164-4636-95AE-EB01C448ADE2}">
      <dgm:prSet phldrT="[Text]"/>
      <dgm:spPr/>
      <dgm:t>
        <a:bodyPr/>
        <a:lstStyle/>
        <a:p>
          <a:r>
            <a:rPr lang="en-GB" dirty="0"/>
            <a:t>Sustain</a:t>
          </a:r>
        </a:p>
      </dgm:t>
    </dgm:pt>
    <dgm:pt modelId="{CD3E50D9-B4DF-4E59-8D98-0C108A567226}" type="parTrans" cxnId="{8B76C5F1-DB1F-4B77-9F8C-3A420886A4C5}">
      <dgm:prSet/>
      <dgm:spPr/>
      <dgm:t>
        <a:bodyPr/>
        <a:lstStyle/>
        <a:p>
          <a:endParaRPr lang="en-GB"/>
        </a:p>
      </dgm:t>
    </dgm:pt>
    <dgm:pt modelId="{DCA9D19F-357B-4BAB-AE9B-085A797C0950}" type="sibTrans" cxnId="{8B76C5F1-DB1F-4B77-9F8C-3A420886A4C5}">
      <dgm:prSet/>
      <dgm:spPr/>
      <dgm:t>
        <a:bodyPr/>
        <a:lstStyle/>
        <a:p>
          <a:endParaRPr lang="en-GB"/>
        </a:p>
      </dgm:t>
    </dgm:pt>
    <dgm:pt modelId="{ACE1A57D-BAF8-4494-96F3-D57CB5FBC111}" type="pres">
      <dgm:prSet presAssocID="{CBC1B55F-0DF4-421B-A50F-174A6EC69C96}" presName="compositeShape" presStyleCnt="0">
        <dgm:presLayoutVars>
          <dgm:chMax val="7"/>
          <dgm:dir/>
          <dgm:resizeHandles val="exact"/>
        </dgm:presLayoutVars>
      </dgm:prSet>
      <dgm:spPr/>
    </dgm:pt>
    <dgm:pt modelId="{57A53A7C-918E-465F-934E-E5C348DC2BF7}" type="pres">
      <dgm:prSet presAssocID="{CBC1B55F-0DF4-421B-A50F-174A6EC69C96}" presName="wedge1" presStyleLbl="node1" presStyleIdx="0" presStyleCnt="4"/>
      <dgm:spPr/>
    </dgm:pt>
    <dgm:pt modelId="{F75BA744-6716-48E6-8BB3-9C8CA88E5F66}" type="pres">
      <dgm:prSet presAssocID="{CBC1B55F-0DF4-421B-A50F-174A6EC69C96}" presName="dummy1a" presStyleCnt="0"/>
      <dgm:spPr/>
    </dgm:pt>
    <dgm:pt modelId="{5B25DB7B-80C0-416B-982C-3A086768A9AF}" type="pres">
      <dgm:prSet presAssocID="{CBC1B55F-0DF4-421B-A50F-174A6EC69C96}" presName="dummy1b" presStyleCnt="0"/>
      <dgm:spPr/>
    </dgm:pt>
    <dgm:pt modelId="{27D05401-40BC-4648-84CA-1A4CAB2F21FE}" type="pres">
      <dgm:prSet presAssocID="{CBC1B55F-0DF4-421B-A50F-174A6EC69C9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9B3A785-DF78-483E-8261-9AC5EDC9EC71}" type="pres">
      <dgm:prSet presAssocID="{CBC1B55F-0DF4-421B-A50F-174A6EC69C96}" presName="wedge2" presStyleLbl="node1" presStyleIdx="1" presStyleCnt="4"/>
      <dgm:spPr/>
    </dgm:pt>
    <dgm:pt modelId="{FD3252B0-6EDB-4609-999C-F3BA0CE99C4B}" type="pres">
      <dgm:prSet presAssocID="{CBC1B55F-0DF4-421B-A50F-174A6EC69C96}" presName="dummy2a" presStyleCnt="0"/>
      <dgm:spPr/>
    </dgm:pt>
    <dgm:pt modelId="{2C5331FB-C897-4AC3-9337-8FC7C5D6CD3B}" type="pres">
      <dgm:prSet presAssocID="{CBC1B55F-0DF4-421B-A50F-174A6EC69C96}" presName="dummy2b" presStyleCnt="0"/>
      <dgm:spPr/>
    </dgm:pt>
    <dgm:pt modelId="{8EC0CFB4-3DA2-42E0-BED1-C2A460899191}" type="pres">
      <dgm:prSet presAssocID="{CBC1B55F-0DF4-421B-A50F-174A6EC69C9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44C9F3A-0BF8-47A2-B17B-C4824A5C50B4}" type="pres">
      <dgm:prSet presAssocID="{CBC1B55F-0DF4-421B-A50F-174A6EC69C96}" presName="wedge3" presStyleLbl="node1" presStyleIdx="2" presStyleCnt="4"/>
      <dgm:spPr/>
    </dgm:pt>
    <dgm:pt modelId="{AD024ECF-3621-44BC-83C6-1BB01F93EDB1}" type="pres">
      <dgm:prSet presAssocID="{CBC1B55F-0DF4-421B-A50F-174A6EC69C96}" presName="dummy3a" presStyleCnt="0"/>
      <dgm:spPr/>
    </dgm:pt>
    <dgm:pt modelId="{1E916EDB-A978-4081-AFC9-631E11DB2332}" type="pres">
      <dgm:prSet presAssocID="{CBC1B55F-0DF4-421B-A50F-174A6EC69C96}" presName="dummy3b" presStyleCnt="0"/>
      <dgm:spPr/>
    </dgm:pt>
    <dgm:pt modelId="{4F6DD933-46D0-44D0-B940-C01F4EABCCBF}" type="pres">
      <dgm:prSet presAssocID="{CBC1B55F-0DF4-421B-A50F-174A6EC69C9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6EF5FF1-CB97-4D60-8F49-92C7101110D4}" type="pres">
      <dgm:prSet presAssocID="{CBC1B55F-0DF4-421B-A50F-174A6EC69C96}" presName="wedge4" presStyleLbl="node1" presStyleIdx="3" presStyleCnt="4"/>
      <dgm:spPr/>
    </dgm:pt>
    <dgm:pt modelId="{E560CE7E-B591-4C0B-ACC6-224D54F1545D}" type="pres">
      <dgm:prSet presAssocID="{CBC1B55F-0DF4-421B-A50F-174A6EC69C96}" presName="dummy4a" presStyleCnt="0"/>
      <dgm:spPr/>
    </dgm:pt>
    <dgm:pt modelId="{47C81932-DE04-4530-9325-B2E227D9883C}" type="pres">
      <dgm:prSet presAssocID="{CBC1B55F-0DF4-421B-A50F-174A6EC69C96}" presName="dummy4b" presStyleCnt="0"/>
      <dgm:spPr/>
    </dgm:pt>
    <dgm:pt modelId="{36A87A3A-D013-457A-A26B-788BC72418EF}" type="pres">
      <dgm:prSet presAssocID="{CBC1B55F-0DF4-421B-A50F-174A6EC69C9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3C83D4A-4EB8-4AFA-98FF-2EAE79E84A1F}" type="pres">
      <dgm:prSet presAssocID="{4CB0F3F7-6CFB-45CF-A9A1-84A76308008B}" presName="arrowWedge1" presStyleLbl="fgSibTrans2D1" presStyleIdx="0" presStyleCnt="4"/>
      <dgm:spPr/>
    </dgm:pt>
    <dgm:pt modelId="{45D68B4E-A1BC-4DEF-B18E-E42569667580}" type="pres">
      <dgm:prSet presAssocID="{1AE6D7CC-CCD6-4048-B325-0C9F7AA92088}" presName="arrowWedge2" presStyleLbl="fgSibTrans2D1" presStyleIdx="1" presStyleCnt="4"/>
      <dgm:spPr/>
    </dgm:pt>
    <dgm:pt modelId="{8F8729F6-BB34-4B01-B818-B46C650BA91C}" type="pres">
      <dgm:prSet presAssocID="{904DC8A9-4C12-4932-978F-AFE58886D87F}" presName="arrowWedge3" presStyleLbl="fgSibTrans2D1" presStyleIdx="2" presStyleCnt="4"/>
      <dgm:spPr/>
    </dgm:pt>
    <dgm:pt modelId="{239EA6F1-C111-4E16-BA06-9D346C247FCD}" type="pres">
      <dgm:prSet presAssocID="{DCA9D19F-357B-4BAB-AE9B-085A797C0950}" presName="arrowWedge4" presStyleLbl="fgSibTrans2D1" presStyleIdx="3" presStyleCnt="4"/>
      <dgm:spPr/>
    </dgm:pt>
  </dgm:ptLst>
  <dgm:cxnLst>
    <dgm:cxn modelId="{23513838-D62A-44FD-9F74-C3386C90C050}" type="presOf" srcId="{6897F0A5-E8CF-4354-B040-8BD28D55A6A4}" destId="{8EC0CFB4-3DA2-42E0-BED1-C2A460899191}" srcOrd="1" destOrd="0" presId="urn:microsoft.com/office/officeart/2005/8/layout/cycle8"/>
    <dgm:cxn modelId="{8FC1595D-EDA9-4D0E-9D8D-47E82B8A9980}" type="presOf" srcId="{F872348D-E848-4C95-BB4B-AB83574BE327}" destId="{4F6DD933-46D0-44D0-B940-C01F4EABCCBF}" srcOrd="1" destOrd="0" presId="urn:microsoft.com/office/officeart/2005/8/layout/cycle8"/>
    <dgm:cxn modelId="{F1E53F47-9368-442D-9159-8A82638B57F2}" type="presOf" srcId="{9C0C34FB-6164-4636-95AE-EB01C448ADE2}" destId="{66EF5FF1-CB97-4D60-8F49-92C7101110D4}" srcOrd="0" destOrd="0" presId="urn:microsoft.com/office/officeart/2005/8/layout/cycle8"/>
    <dgm:cxn modelId="{34FD4B6C-8CA6-402A-8AE2-6D3E69659F08}" type="presOf" srcId="{A4CE0ED4-AD1E-429E-A9CC-873BF6E0C603}" destId="{27D05401-40BC-4648-84CA-1A4CAB2F21FE}" srcOrd="1" destOrd="0" presId="urn:microsoft.com/office/officeart/2005/8/layout/cycle8"/>
    <dgm:cxn modelId="{57817974-0805-47AA-ACD5-C3A41E5E0233}" type="presOf" srcId="{6897F0A5-E8CF-4354-B040-8BD28D55A6A4}" destId="{C9B3A785-DF78-483E-8261-9AC5EDC9EC71}" srcOrd="0" destOrd="0" presId="urn:microsoft.com/office/officeart/2005/8/layout/cycle8"/>
    <dgm:cxn modelId="{CF20BA82-FEFD-40AA-8037-084679594468}" type="presOf" srcId="{A4CE0ED4-AD1E-429E-A9CC-873BF6E0C603}" destId="{57A53A7C-918E-465F-934E-E5C348DC2BF7}" srcOrd="0" destOrd="0" presId="urn:microsoft.com/office/officeart/2005/8/layout/cycle8"/>
    <dgm:cxn modelId="{5124818A-CE34-434F-9558-8C90727058A6}" type="presOf" srcId="{F872348D-E848-4C95-BB4B-AB83574BE327}" destId="{F44C9F3A-0BF8-47A2-B17B-C4824A5C50B4}" srcOrd="0" destOrd="0" presId="urn:microsoft.com/office/officeart/2005/8/layout/cycle8"/>
    <dgm:cxn modelId="{CF05BDA4-E18B-4107-8809-7DB65C8D53F1}" type="presOf" srcId="{9C0C34FB-6164-4636-95AE-EB01C448ADE2}" destId="{36A87A3A-D013-457A-A26B-788BC72418EF}" srcOrd="1" destOrd="0" presId="urn:microsoft.com/office/officeart/2005/8/layout/cycle8"/>
    <dgm:cxn modelId="{EB0565DA-828B-4809-82BD-8337A6AFD7B1}" type="presOf" srcId="{CBC1B55F-0DF4-421B-A50F-174A6EC69C96}" destId="{ACE1A57D-BAF8-4494-96F3-D57CB5FBC111}" srcOrd="0" destOrd="0" presId="urn:microsoft.com/office/officeart/2005/8/layout/cycle8"/>
    <dgm:cxn modelId="{559F64E5-0F83-48DD-8C4B-82C717E8EC76}" srcId="{CBC1B55F-0DF4-421B-A50F-174A6EC69C96}" destId="{6897F0A5-E8CF-4354-B040-8BD28D55A6A4}" srcOrd="1" destOrd="0" parTransId="{736A6DB6-0571-49C6-A095-7BE9969E64BB}" sibTransId="{1AE6D7CC-CCD6-4048-B325-0C9F7AA92088}"/>
    <dgm:cxn modelId="{8B76C5F1-DB1F-4B77-9F8C-3A420886A4C5}" srcId="{CBC1B55F-0DF4-421B-A50F-174A6EC69C96}" destId="{9C0C34FB-6164-4636-95AE-EB01C448ADE2}" srcOrd="3" destOrd="0" parTransId="{CD3E50D9-B4DF-4E59-8D98-0C108A567226}" sibTransId="{DCA9D19F-357B-4BAB-AE9B-085A797C0950}"/>
    <dgm:cxn modelId="{028375F9-3DFC-4720-B8EE-BF010FFD27E7}" srcId="{CBC1B55F-0DF4-421B-A50F-174A6EC69C96}" destId="{A4CE0ED4-AD1E-429E-A9CC-873BF6E0C603}" srcOrd="0" destOrd="0" parTransId="{09743DA5-6C79-42CA-97B6-8A5E0F75A910}" sibTransId="{4CB0F3F7-6CFB-45CF-A9A1-84A76308008B}"/>
    <dgm:cxn modelId="{20C3BCF9-C893-4FCC-9DFC-FD0F3CE5B004}" srcId="{CBC1B55F-0DF4-421B-A50F-174A6EC69C96}" destId="{F872348D-E848-4C95-BB4B-AB83574BE327}" srcOrd="2" destOrd="0" parTransId="{EC48CDCA-B13D-4D63-97C5-E3AC7BEBD83E}" sibTransId="{904DC8A9-4C12-4932-978F-AFE58886D87F}"/>
    <dgm:cxn modelId="{7A826EC5-E52D-47FC-9451-39F8CCF1217F}" type="presParOf" srcId="{ACE1A57D-BAF8-4494-96F3-D57CB5FBC111}" destId="{57A53A7C-918E-465F-934E-E5C348DC2BF7}" srcOrd="0" destOrd="0" presId="urn:microsoft.com/office/officeart/2005/8/layout/cycle8"/>
    <dgm:cxn modelId="{0CF5DA80-274B-457C-B057-9F552975FA7C}" type="presParOf" srcId="{ACE1A57D-BAF8-4494-96F3-D57CB5FBC111}" destId="{F75BA744-6716-48E6-8BB3-9C8CA88E5F66}" srcOrd="1" destOrd="0" presId="urn:microsoft.com/office/officeart/2005/8/layout/cycle8"/>
    <dgm:cxn modelId="{71AA03FF-E59D-4C31-BAAF-EC1570847874}" type="presParOf" srcId="{ACE1A57D-BAF8-4494-96F3-D57CB5FBC111}" destId="{5B25DB7B-80C0-416B-982C-3A086768A9AF}" srcOrd="2" destOrd="0" presId="urn:microsoft.com/office/officeart/2005/8/layout/cycle8"/>
    <dgm:cxn modelId="{03303FB1-D96E-4F1C-A93B-1667FEED3527}" type="presParOf" srcId="{ACE1A57D-BAF8-4494-96F3-D57CB5FBC111}" destId="{27D05401-40BC-4648-84CA-1A4CAB2F21FE}" srcOrd="3" destOrd="0" presId="urn:microsoft.com/office/officeart/2005/8/layout/cycle8"/>
    <dgm:cxn modelId="{7F49CCA8-BC8A-447F-B33E-7F6968B0D940}" type="presParOf" srcId="{ACE1A57D-BAF8-4494-96F3-D57CB5FBC111}" destId="{C9B3A785-DF78-483E-8261-9AC5EDC9EC71}" srcOrd="4" destOrd="0" presId="urn:microsoft.com/office/officeart/2005/8/layout/cycle8"/>
    <dgm:cxn modelId="{8D54B536-CA7D-4AAA-B85E-FCA472CA4FF7}" type="presParOf" srcId="{ACE1A57D-BAF8-4494-96F3-D57CB5FBC111}" destId="{FD3252B0-6EDB-4609-999C-F3BA0CE99C4B}" srcOrd="5" destOrd="0" presId="urn:microsoft.com/office/officeart/2005/8/layout/cycle8"/>
    <dgm:cxn modelId="{BD48F6A2-1C2F-4929-918E-9079AC684D3D}" type="presParOf" srcId="{ACE1A57D-BAF8-4494-96F3-D57CB5FBC111}" destId="{2C5331FB-C897-4AC3-9337-8FC7C5D6CD3B}" srcOrd="6" destOrd="0" presId="urn:microsoft.com/office/officeart/2005/8/layout/cycle8"/>
    <dgm:cxn modelId="{B6DB3A6C-5068-465B-AE9C-97766447F357}" type="presParOf" srcId="{ACE1A57D-BAF8-4494-96F3-D57CB5FBC111}" destId="{8EC0CFB4-3DA2-42E0-BED1-C2A460899191}" srcOrd="7" destOrd="0" presId="urn:microsoft.com/office/officeart/2005/8/layout/cycle8"/>
    <dgm:cxn modelId="{8D97C6AC-929F-4E5B-B479-44AD1FD8C051}" type="presParOf" srcId="{ACE1A57D-BAF8-4494-96F3-D57CB5FBC111}" destId="{F44C9F3A-0BF8-47A2-B17B-C4824A5C50B4}" srcOrd="8" destOrd="0" presId="urn:microsoft.com/office/officeart/2005/8/layout/cycle8"/>
    <dgm:cxn modelId="{EE2FAF6D-A0F4-4245-B6F3-871BE1E3BA7A}" type="presParOf" srcId="{ACE1A57D-BAF8-4494-96F3-D57CB5FBC111}" destId="{AD024ECF-3621-44BC-83C6-1BB01F93EDB1}" srcOrd="9" destOrd="0" presId="urn:microsoft.com/office/officeart/2005/8/layout/cycle8"/>
    <dgm:cxn modelId="{A6BBE5E6-9AD0-4ED1-97E8-E18A5D27B619}" type="presParOf" srcId="{ACE1A57D-BAF8-4494-96F3-D57CB5FBC111}" destId="{1E916EDB-A978-4081-AFC9-631E11DB2332}" srcOrd="10" destOrd="0" presId="urn:microsoft.com/office/officeart/2005/8/layout/cycle8"/>
    <dgm:cxn modelId="{84AEECDC-CEAF-4B28-835E-61AEEB4B50D8}" type="presParOf" srcId="{ACE1A57D-BAF8-4494-96F3-D57CB5FBC111}" destId="{4F6DD933-46D0-44D0-B940-C01F4EABCCBF}" srcOrd="11" destOrd="0" presId="urn:microsoft.com/office/officeart/2005/8/layout/cycle8"/>
    <dgm:cxn modelId="{1A54B0FD-BF75-4F38-ADD9-BD84E62A6B1D}" type="presParOf" srcId="{ACE1A57D-BAF8-4494-96F3-D57CB5FBC111}" destId="{66EF5FF1-CB97-4D60-8F49-92C7101110D4}" srcOrd="12" destOrd="0" presId="urn:microsoft.com/office/officeart/2005/8/layout/cycle8"/>
    <dgm:cxn modelId="{F3D8255F-393E-4887-BB8B-FC94A86C1B56}" type="presParOf" srcId="{ACE1A57D-BAF8-4494-96F3-D57CB5FBC111}" destId="{E560CE7E-B591-4C0B-ACC6-224D54F1545D}" srcOrd="13" destOrd="0" presId="urn:microsoft.com/office/officeart/2005/8/layout/cycle8"/>
    <dgm:cxn modelId="{F2B0920F-4CE0-49A7-88DE-44A946B292D6}" type="presParOf" srcId="{ACE1A57D-BAF8-4494-96F3-D57CB5FBC111}" destId="{47C81932-DE04-4530-9325-B2E227D9883C}" srcOrd="14" destOrd="0" presId="urn:microsoft.com/office/officeart/2005/8/layout/cycle8"/>
    <dgm:cxn modelId="{0E5B431C-DDB4-4423-96A6-16F7EC79E9E4}" type="presParOf" srcId="{ACE1A57D-BAF8-4494-96F3-D57CB5FBC111}" destId="{36A87A3A-D013-457A-A26B-788BC72418EF}" srcOrd="15" destOrd="0" presId="urn:microsoft.com/office/officeart/2005/8/layout/cycle8"/>
    <dgm:cxn modelId="{519EF87A-9AC6-4C58-AC9B-7B3B9F14CFCC}" type="presParOf" srcId="{ACE1A57D-BAF8-4494-96F3-D57CB5FBC111}" destId="{03C83D4A-4EB8-4AFA-98FF-2EAE79E84A1F}" srcOrd="16" destOrd="0" presId="urn:microsoft.com/office/officeart/2005/8/layout/cycle8"/>
    <dgm:cxn modelId="{3AC2B1CC-C2CF-490E-A341-2A9F50228D84}" type="presParOf" srcId="{ACE1A57D-BAF8-4494-96F3-D57CB5FBC111}" destId="{45D68B4E-A1BC-4DEF-B18E-E42569667580}" srcOrd="17" destOrd="0" presId="urn:microsoft.com/office/officeart/2005/8/layout/cycle8"/>
    <dgm:cxn modelId="{8894EB6B-FAB1-466D-A259-9904D6512F3F}" type="presParOf" srcId="{ACE1A57D-BAF8-4494-96F3-D57CB5FBC111}" destId="{8F8729F6-BB34-4B01-B818-B46C650BA91C}" srcOrd="18" destOrd="0" presId="urn:microsoft.com/office/officeart/2005/8/layout/cycle8"/>
    <dgm:cxn modelId="{04FCF1F8-D5F5-4D2C-94D1-5F72F326D257}" type="presParOf" srcId="{ACE1A57D-BAF8-4494-96F3-D57CB5FBC111}" destId="{239EA6F1-C111-4E16-BA06-9D346C247FCD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A53A7C-918E-465F-934E-E5C348DC2BF7}">
      <dsp:nvSpPr>
        <dsp:cNvPr id="0" name=""/>
        <dsp:cNvSpPr/>
      </dsp:nvSpPr>
      <dsp:spPr>
        <a:xfrm>
          <a:off x="668966" y="89545"/>
          <a:ext cx="1370838" cy="1370838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Prepare</a:t>
          </a:r>
        </a:p>
      </dsp:txBody>
      <dsp:txXfrm>
        <a:off x="1396652" y="373667"/>
        <a:ext cx="505904" cy="375348"/>
      </dsp:txXfrm>
    </dsp:sp>
    <dsp:sp modelId="{C9B3A785-DF78-483E-8261-9AC5EDC9EC71}">
      <dsp:nvSpPr>
        <dsp:cNvPr id="0" name=""/>
        <dsp:cNvSpPr/>
      </dsp:nvSpPr>
      <dsp:spPr>
        <a:xfrm>
          <a:off x="668966" y="135566"/>
          <a:ext cx="1370838" cy="1370838"/>
        </a:xfrm>
        <a:prstGeom prst="pie">
          <a:avLst>
            <a:gd name="adj1" fmla="val 0"/>
            <a:gd name="adj2" fmla="val 54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Diagnose &amp; Design</a:t>
          </a:r>
        </a:p>
      </dsp:txBody>
      <dsp:txXfrm>
        <a:off x="1396652" y="846933"/>
        <a:ext cx="505904" cy="375348"/>
      </dsp:txXfrm>
    </dsp:sp>
    <dsp:sp modelId="{F44C9F3A-0BF8-47A2-B17B-C4824A5C50B4}">
      <dsp:nvSpPr>
        <dsp:cNvPr id="0" name=""/>
        <dsp:cNvSpPr/>
      </dsp:nvSpPr>
      <dsp:spPr>
        <a:xfrm>
          <a:off x="622945" y="135566"/>
          <a:ext cx="1370838" cy="1370838"/>
        </a:xfrm>
        <a:prstGeom prst="pie">
          <a:avLst>
            <a:gd name="adj1" fmla="val 5400000"/>
            <a:gd name="adj2" fmla="val 10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Implement</a:t>
          </a:r>
        </a:p>
      </dsp:txBody>
      <dsp:txXfrm>
        <a:off x="760192" y="846933"/>
        <a:ext cx="505904" cy="375348"/>
      </dsp:txXfrm>
    </dsp:sp>
    <dsp:sp modelId="{66EF5FF1-CB97-4D60-8F49-92C7101110D4}">
      <dsp:nvSpPr>
        <dsp:cNvPr id="0" name=""/>
        <dsp:cNvSpPr/>
      </dsp:nvSpPr>
      <dsp:spPr>
        <a:xfrm>
          <a:off x="622945" y="89545"/>
          <a:ext cx="1370838" cy="1370838"/>
        </a:xfrm>
        <a:prstGeom prst="pie">
          <a:avLst>
            <a:gd name="adj1" fmla="val 108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kern="1200" dirty="0"/>
            <a:t>Sustain</a:t>
          </a:r>
        </a:p>
      </dsp:txBody>
      <dsp:txXfrm>
        <a:off x="760192" y="373667"/>
        <a:ext cx="505904" cy="375348"/>
      </dsp:txXfrm>
    </dsp:sp>
    <dsp:sp modelId="{03C83D4A-4EB8-4AFA-98FF-2EAE79E84A1F}">
      <dsp:nvSpPr>
        <dsp:cNvPr id="0" name=""/>
        <dsp:cNvSpPr/>
      </dsp:nvSpPr>
      <dsp:spPr>
        <a:xfrm>
          <a:off x="584105" y="4684"/>
          <a:ext cx="1540560" cy="1540560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D68B4E-A1BC-4DEF-B18E-E42569667580}">
      <dsp:nvSpPr>
        <dsp:cNvPr id="0" name=""/>
        <dsp:cNvSpPr/>
      </dsp:nvSpPr>
      <dsp:spPr>
        <a:xfrm>
          <a:off x="584105" y="50705"/>
          <a:ext cx="1540560" cy="1540560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8729F6-BB34-4B01-B818-B46C650BA91C}">
      <dsp:nvSpPr>
        <dsp:cNvPr id="0" name=""/>
        <dsp:cNvSpPr/>
      </dsp:nvSpPr>
      <dsp:spPr>
        <a:xfrm>
          <a:off x="538084" y="50705"/>
          <a:ext cx="1540560" cy="1540560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EA6F1-C111-4E16-BA06-9D346C247FCD}">
      <dsp:nvSpPr>
        <dsp:cNvPr id="0" name=""/>
        <dsp:cNvSpPr/>
      </dsp:nvSpPr>
      <dsp:spPr>
        <a:xfrm>
          <a:off x="538084" y="4684"/>
          <a:ext cx="1540560" cy="1540560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AAE2603-2266-4059-975A-0ACEC064FCB3}" type="datetimeFigureOut">
              <a:rPr lang="en-GB" smtClean="0"/>
              <a:t>15/12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CF39F39-4864-4B19-80F3-487D85C47A0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6918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25E6AD-6B24-48F3-BB85-E105A647327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139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25E6AD-6B24-48F3-BB85-E105A647327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9569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39F39-4864-4B19-80F3-487D85C47A0D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7777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Pri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5" descr="A person sitting at a table&#10;&#10;Description automatically generated">
            <a:extLst>
              <a:ext uri="{FF2B5EF4-FFF2-40B4-BE49-F238E27FC236}">
                <a16:creationId xmlns:a16="http://schemas.microsoft.com/office/drawing/2014/main" id="{D85FE49A-437C-3640-8C56-0B8BCAB424CD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76800" y="0"/>
            <a:ext cx="7315200" cy="68580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7DD33B4-743D-094D-8306-F969998CF954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A6987A9-AF90-0846-884F-3288346AD80C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0C5DEA6-4A5A-C842-A4A5-747B5DFD37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34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Primary: Click to Add Presentation Title in Arial Bold 34pt. Title Case.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7C878F1E-8E9D-AC46-ADC9-0E7E194258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83185"/>
            <a:ext cx="4133088" cy="12400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/ Author Nam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711A761-901E-B846-B74B-96C382ADCDDF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3A4607-8514-5241-BC9C-9E5080C7AF8C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3C6BFCEF-CB7A-D245-9621-D646F4E6C43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433" y="0"/>
            <a:ext cx="1080000" cy="61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535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269244-88BE-574F-A321-49B2C016105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8632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3F83BB-8E7E-944B-AE7E-AE5E71AB26C2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E4BE1F-061D-9A45-AED9-9B84C309C32B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66294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E018527D-1758-9840-BF87-AF29F7965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6629400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2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7628A4C-ED6C-5441-9B80-780D374FB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6629400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</a:t>
            </a:r>
            <a:br>
              <a:rPr lang="en-US"/>
            </a:br>
            <a:r>
              <a:rPr lang="en-US"/>
              <a:t>   area, size: 5.25” x 7.5”. </a:t>
            </a:r>
          </a:p>
        </p:txBody>
      </p:sp>
    </p:spTree>
    <p:extLst>
      <p:ext uri="{BB962C8B-B14F-4D97-AF65-F5344CB8AC3E}">
        <p14:creationId xmlns:p14="http://schemas.microsoft.com/office/powerpoint/2010/main" val="1955578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269244-88BE-574F-A321-49B2C016105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8632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3F83BB-8E7E-944B-AE7E-AE5E71AB26C2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E4BE1F-061D-9A45-AED9-9B84C309C32B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66294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E018527D-1758-9840-BF87-AF29F7965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6629400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2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7628A4C-ED6C-5441-9B80-780D374FB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6629400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</a:t>
            </a:r>
            <a:br>
              <a:rPr lang="en-US"/>
            </a:br>
            <a:r>
              <a:rPr lang="en-US"/>
              <a:t>   area, size: 5.25” x 7.5”. </a:t>
            </a:r>
          </a:p>
        </p:txBody>
      </p:sp>
    </p:spTree>
    <p:extLst>
      <p:ext uri="{BB962C8B-B14F-4D97-AF65-F5344CB8AC3E}">
        <p14:creationId xmlns:p14="http://schemas.microsoft.com/office/powerpoint/2010/main" val="1115134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514348" y="1302389"/>
            <a:ext cx="5400000" cy="4996811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 in Arial Bold 28pt. Title Case.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6274348" y="1331268"/>
            <a:ext cx="5400000" cy="4963206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57260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14348" y="1369770"/>
            <a:ext cx="5400000" cy="28346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514348" y="1909512"/>
            <a:ext cx="5400000" cy="438968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4348" y="1369770"/>
            <a:ext cx="5400000" cy="2834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2000" b="1" dirty="0" smtClean="0"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4"/>
          </p:nvPr>
        </p:nvSpPr>
        <p:spPr>
          <a:xfrm>
            <a:off x="6274348" y="1909512"/>
            <a:ext cx="5400000" cy="438968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1600"/>
            </a:lvl1pPr>
            <a:lvl2pPr>
              <a:lnSpc>
                <a:spcPct val="110000"/>
              </a:lnSpc>
              <a:spcAft>
                <a:spcPts val="600"/>
              </a:spcAft>
              <a:defRPr sz="1400"/>
            </a:lvl2pPr>
            <a:lvl3pPr>
              <a:lnSpc>
                <a:spcPct val="110000"/>
              </a:lnSpc>
              <a:spcAft>
                <a:spcPts val="600"/>
              </a:spcAft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 in Arial Bold 28pt. Title Case.</a:t>
            </a:r>
          </a:p>
        </p:txBody>
      </p:sp>
    </p:spTree>
    <p:extLst>
      <p:ext uri="{BB962C8B-B14F-4D97-AF65-F5344CB8AC3E}">
        <p14:creationId xmlns:p14="http://schemas.microsoft.com/office/powerpoint/2010/main" val="1532237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194348" y="987426"/>
            <a:ext cx="6480000" cy="53117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defRPr sz="1600"/>
            </a:lvl1pPr>
            <a:lvl2pPr>
              <a:lnSpc>
                <a:spcPct val="110000"/>
              </a:lnSpc>
              <a:defRPr sz="1400"/>
            </a:lvl2pPr>
            <a:lvl3pPr>
              <a:lnSpc>
                <a:spcPct val="110000"/>
              </a:lnSpc>
              <a:defRPr sz="1200"/>
            </a:lvl3pPr>
            <a:lvl4pPr>
              <a:defRPr sz="1200"/>
            </a:lvl4pPr>
            <a:lvl5pPr>
              <a:defRPr sz="1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48" y="2158148"/>
            <a:ext cx="4320000" cy="414105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14348" y="655819"/>
            <a:ext cx="4320000" cy="12441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Title in Arial Bold 28pt. Title Case.</a:t>
            </a:r>
          </a:p>
        </p:txBody>
      </p:sp>
    </p:spTree>
    <p:extLst>
      <p:ext uri="{BB962C8B-B14F-4D97-AF65-F5344CB8AC3E}">
        <p14:creationId xmlns:p14="http://schemas.microsoft.com/office/powerpoint/2010/main" val="41551782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5194348" y="975499"/>
            <a:ext cx="6480000" cy="5323701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48" y="2158148"/>
            <a:ext cx="4320000" cy="415067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Aft>
                <a:spcPts val="6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4320000" cy="124358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Add Title in Arial Bold 28pt. Title Case.</a:t>
            </a:r>
          </a:p>
        </p:txBody>
      </p:sp>
    </p:spTree>
    <p:extLst>
      <p:ext uri="{BB962C8B-B14F-4D97-AF65-F5344CB8AC3E}">
        <p14:creationId xmlns:p14="http://schemas.microsoft.com/office/powerpoint/2010/main" val="41460340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2637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4878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B2664959-46D8-054F-8588-033E387479F3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Click on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20061636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012838"/>
            <a:ext cx="3476092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/>
        </p:nvSpPr>
        <p:spPr>
          <a:xfrm flipV="1">
            <a:off x="836262" y="4715425"/>
            <a:ext cx="1135573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>
                <a:solidFill>
                  <a:schemeClr val="tx2"/>
                </a:solidFill>
              </a:rPr>
              <a:t>WHEN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TECHNOLOGY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CONNECTS,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SO DOES HUMANITY.</a:t>
            </a:r>
            <a:endParaRPr lang="en-US" sz="7000" b="1">
              <a:solidFill>
                <a:schemeClr val="tx2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/>
        </p:nvSpPr>
        <p:spPr>
          <a:xfrm>
            <a:off x="785992" y="5828605"/>
            <a:ext cx="303865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60" b="1">
                <a:solidFill>
                  <a:schemeClr val="tx2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79833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5" descr="A person sitting at a table&#10;&#10;Description automatically generated">
            <a:extLst>
              <a:ext uri="{FF2B5EF4-FFF2-40B4-BE49-F238E27FC236}">
                <a16:creationId xmlns:a16="http://schemas.microsoft.com/office/drawing/2014/main" id="{42871169-12A8-1C42-9606-1A70317D6D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9952" y="3466618"/>
            <a:ext cx="4197096" cy="3391382"/>
          </a:xfrm>
          <a:prstGeom prst="rect">
            <a:avLst/>
          </a:prstGeom>
        </p:spPr>
      </p:pic>
      <p:pic>
        <p:nvPicPr>
          <p:cNvPr id="7" name="Picture 6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D423E103-45C5-C544-AE70-25DAFC51AC46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9952" y="0"/>
            <a:ext cx="7242048" cy="3401568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7DD33B4-743D-094D-8306-F969998CF954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A6987A9-AF90-0846-884F-3288346AD80C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0C5DEA6-4A5A-C842-A4A5-747B5DFD37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34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Alternate: Click to Add Presentation Title in Arial Bold 34pt. Title Case.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7C878F1E-8E9D-AC46-ADC9-0E7E194258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83185"/>
            <a:ext cx="4133088" cy="12400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/ Author Nam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711A761-901E-B846-B74B-96C382ADCDDF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3A4607-8514-5241-BC9C-9E5080C7AF8C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3C6BFCEF-CB7A-D245-9621-D646F4E6C43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433" y="0"/>
            <a:ext cx="1080000" cy="617143"/>
          </a:xfrm>
          <a:prstGeom prst="rect">
            <a:avLst/>
          </a:prstGeom>
        </p:spPr>
      </p:pic>
      <p:pic>
        <p:nvPicPr>
          <p:cNvPr id="5" name="Picture 4" descr="A picture containing indoor, table, kitchen, counter&#10;&#10;Description automatically generated">
            <a:extLst>
              <a:ext uri="{FF2B5EF4-FFF2-40B4-BE49-F238E27FC236}">
                <a16:creationId xmlns:a16="http://schemas.microsoft.com/office/drawing/2014/main" id="{E7F68BC9-693E-254B-8424-514AC712AC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20200" y="3466618"/>
            <a:ext cx="2971800" cy="3391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147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012837"/>
            <a:ext cx="268819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/>
        </p:nvSpPr>
        <p:spPr>
          <a:xfrm flipV="1">
            <a:off x="836262" y="4715425"/>
            <a:ext cx="1135573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>
                <a:solidFill>
                  <a:schemeClr val="tx2"/>
                </a:solidFill>
              </a:rPr>
              <a:t>ANY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CONNECTION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CAN CHANGE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THE WORLD</a:t>
            </a:r>
            <a:endParaRPr lang="en-US" sz="7000" b="1">
              <a:solidFill>
                <a:schemeClr val="tx2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/>
        </p:nvSpPr>
        <p:spPr>
          <a:xfrm>
            <a:off x="785992" y="5828605"/>
            <a:ext cx="303865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60" b="1">
                <a:solidFill>
                  <a:schemeClr val="tx2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23184058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012837"/>
            <a:ext cx="5182700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/>
        </p:nvSpPr>
        <p:spPr>
          <a:xfrm flipV="1">
            <a:off x="836262" y="4715425"/>
            <a:ext cx="11355738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>
                <a:solidFill>
                  <a:schemeClr val="tx2"/>
                </a:solidFill>
              </a:rPr>
              <a:t>CONNECT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LIKE THE WORLD</a:t>
            </a:r>
            <a:br>
              <a:rPr lang="en-US" sz="7000" b="1" cap="all">
                <a:solidFill>
                  <a:schemeClr val="tx2"/>
                </a:solidFill>
              </a:rPr>
            </a:br>
            <a:r>
              <a:rPr lang="en-US" sz="7000" b="1" cap="all">
                <a:solidFill>
                  <a:schemeClr val="tx2"/>
                </a:solidFill>
              </a:rPr>
              <a:t>DEPENDS ON IT.</a:t>
            </a:r>
          </a:p>
          <a:p>
            <a:pPr>
              <a:lnSpc>
                <a:spcPct val="80000"/>
              </a:lnSpc>
            </a:pPr>
            <a:r>
              <a:rPr lang="en-US" sz="7000" b="1" cap="all">
                <a:solidFill>
                  <a:schemeClr val="tx2"/>
                </a:solidFill>
              </a:rPr>
              <a:t>BECAUSE IT DOES.</a:t>
            </a:r>
            <a:endParaRPr lang="en-US" sz="7000" b="1">
              <a:solidFill>
                <a:schemeClr val="tx2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/>
        </p:nvSpPr>
        <p:spPr>
          <a:xfrm>
            <a:off x="785992" y="5828605"/>
            <a:ext cx="303865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60" b="1">
                <a:solidFill>
                  <a:schemeClr val="tx2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16387696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E47A0-F197-4145-BB90-223F07D7D0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BD011F-1DAC-4706-8463-05DA38968C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E3A851-D3CD-4046-BCE9-C829C1F23B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FEF03-74CB-4277-8CA2-E9D65FAB4D07}" type="datetimeFigureOut">
              <a:rPr lang="en-GB" smtClean="0"/>
              <a:t>15/12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96EF38-2E99-4028-BD53-6552A7E7A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41E2F1-6F53-464A-8155-64F56EC148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21229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514348" y="655820"/>
            <a:ext cx="11160000" cy="5907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16675"/>
            <a:ext cx="4269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919195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514349" y="1465877"/>
            <a:ext cx="11160000" cy="4604723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122925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Single Line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20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US"/>
              <a:t>Click to Add Title in Arial Bold 28pt. Title Case.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03974"/>
            <a:ext cx="429768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514349" y="1296543"/>
            <a:ext cx="11160000" cy="4989957"/>
          </a:xfrm>
          <a:prstGeom prst="rect">
            <a:avLst/>
          </a:prstGeom>
        </p:spPr>
        <p:txBody>
          <a:bodyPr>
            <a:noAutofit/>
          </a:bodyPr>
          <a:lstStyle>
            <a:lvl2pPr marL="457200" indent="-228600">
              <a:tabLst/>
              <a:defRPr/>
            </a:lvl2pPr>
            <a:lvl3pPr marL="866775" indent="-222250">
              <a:tabLst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73800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Two Lines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8015" y="6403974"/>
            <a:ext cx="426914" cy="429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514349" y="1717964"/>
            <a:ext cx="11160000" cy="457651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14348" y="655818"/>
            <a:ext cx="9829800" cy="914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Add Title in Arial Bold 28pt, Max Two Lines,</a:t>
            </a:r>
            <a:br>
              <a:rPr lang="en-US"/>
            </a:br>
            <a:r>
              <a:rPr lang="en-US"/>
              <a:t>Title Case. </a:t>
            </a:r>
          </a:p>
        </p:txBody>
      </p:sp>
    </p:spTree>
    <p:extLst>
      <p:ext uri="{BB962C8B-B14F-4D97-AF65-F5344CB8AC3E}">
        <p14:creationId xmlns:p14="http://schemas.microsoft.com/office/powerpoint/2010/main" val="445277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E0434DB-3B27-D540-AB97-A58DF145623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ABDAE19-E5C9-CE47-88B9-5CB7B65E4641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CA1A39E-D551-804F-B57E-6C5C466A80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 #1: Click to Add Title in Arial Bold 28pt. Title Case.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C7C431-5C9A-5A48-A38A-31C957BB39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2820DBE-C751-1D46-86EB-F9BDD8536B0F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7DD8F2F-6B66-B34E-9434-BD1260F62D22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AF696E4D-4639-6D4F-9554-69F1535083D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 area, size: 8” x 7.5”.</a:t>
            </a:r>
            <a:br>
              <a:rPr lang="en-US"/>
            </a:br>
            <a:r>
              <a:rPr lang="en-US"/>
              <a:t>  See following slide for example.</a:t>
            </a:r>
          </a:p>
        </p:txBody>
      </p:sp>
    </p:spTree>
    <p:extLst>
      <p:ext uri="{BB962C8B-B14F-4D97-AF65-F5344CB8AC3E}">
        <p14:creationId xmlns:p14="http://schemas.microsoft.com/office/powerpoint/2010/main" val="3344723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E0434DB-3B27-D540-AB97-A58DF145623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ABDAE19-E5C9-CE47-88B9-5CB7B65E4641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CA1A39E-D551-804F-B57E-6C5C466A80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 #1: Click to Add Title in Arial Bold 28pt. Title Case.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C7C431-5C9A-5A48-A38A-31C957BB39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2820DBE-C751-1D46-86EB-F9BDD8536B0F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7DD8F2F-6B66-B34E-9434-BD1260F62D22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Placeholder 5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F1BDFA8B-AFBF-4142-BBF8-9BCBEE138E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76800" y="0"/>
            <a:ext cx="73152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2518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96538FC-2CE5-4C4B-9799-30B0F841B426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A0D7202-3699-BA46-B78B-2F371C11B195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893968C-80FF-8944-A2B2-1D658ECECAF0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953533-E534-EF47-83B1-BFE03463253F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701A74A1-591D-334D-A931-1E526E02236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 area, size: 8” x 7.5”.</a:t>
            </a:r>
            <a:br>
              <a:rPr lang="en-US"/>
            </a:br>
            <a:r>
              <a:rPr lang="en-US"/>
              <a:t> 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7A0AFB1-2720-244B-A01D-0806512E2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3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74BA31-7895-4B43-BC23-CFEAC02EDD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829693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96538FC-2CE5-4C4B-9799-30B0F841B426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A0D7202-3699-BA46-B78B-2F371C11B195}"/>
              </a:ext>
            </a:extLst>
          </p:cNvPr>
          <p:cNvSpPr>
            <a:spLocks noChangeAspect="1"/>
          </p:cNvSpPr>
          <p:nvPr/>
        </p:nvSpPr>
        <p:spPr>
          <a:xfrm>
            <a:off x="1" y="0"/>
            <a:ext cx="48768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893968C-80FF-8944-A2B2-1D658ECECAF0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953533-E534-EF47-83B1-BFE03463253F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41330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701A74A1-591D-334D-A931-1E526E02236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 area, size: 8” x 7.5”.</a:t>
            </a:r>
            <a:br>
              <a:rPr lang="en-US"/>
            </a:br>
            <a:r>
              <a:rPr lang="en-US"/>
              <a:t> 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7A0AFB1-2720-244B-A01D-0806512E2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4133088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3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74BA31-7895-4B43-BC23-CFEAC02EDD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4133088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123079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269244-88BE-574F-A321-49B2C016105D}"/>
              </a:ext>
            </a:extLst>
          </p:cNvPr>
          <p:cNvSpPr txBox="1"/>
          <p:nvPr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8632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3F83BB-8E7E-944B-AE7E-AE5E71AB26C2}"/>
              </a:ext>
            </a:extLst>
          </p:cNvPr>
          <p:cNvSpPr txBox="1"/>
          <p:nvPr/>
        </p:nvSpPr>
        <p:spPr>
          <a:xfrm>
            <a:off x="353332" y="6247364"/>
            <a:ext cx="32220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EVERY CONNECTION COUNT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E4BE1F-061D-9A45-AED9-9B84C309C32B}"/>
              </a:ext>
            </a:extLst>
          </p:cNvPr>
          <p:cNvCxnSpPr>
            <a:cxnSpLocks/>
          </p:cNvCxnSpPr>
          <p:nvPr/>
        </p:nvCxnSpPr>
        <p:spPr>
          <a:xfrm>
            <a:off x="358514" y="4508499"/>
            <a:ext cx="66294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E018527D-1758-9840-BF87-AF29F79653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8346" y="711200"/>
            <a:ext cx="6629400" cy="36620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Divider Slide #2: Click to Add Title in Arial Bold 28pt.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7628A4C-ED6C-5441-9B80-780D374FB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45" y="4673659"/>
            <a:ext cx="6629400" cy="12435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  </a:t>
            </a: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  Click icon to add picture to fill and fit entire white</a:t>
            </a:r>
            <a:br>
              <a:rPr lang="en-US"/>
            </a:br>
            <a:r>
              <a:rPr lang="en-US"/>
              <a:t>   area, size: 5.25” x 7.5”. </a:t>
            </a:r>
          </a:p>
        </p:txBody>
      </p:sp>
    </p:spTree>
    <p:extLst>
      <p:ext uri="{BB962C8B-B14F-4D97-AF65-F5344CB8AC3E}">
        <p14:creationId xmlns:p14="http://schemas.microsoft.com/office/powerpoint/2010/main" val="2708337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09FB4610-7AB1-DE45-895B-A160C586AA51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433" y="0"/>
            <a:ext cx="1080000" cy="617143"/>
          </a:xfrm>
          <a:prstGeom prst="rect">
            <a:avLst/>
          </a:prstGeom>
        </p:spPr>
      </p:pic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A81C1CC2-597F-764A-8A90-3F8C75BC16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655820"/>
            <a:ext cx="9880228" cy="4737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FA6548F-1EDA-3849-A0DE-A334F27F1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4347" y="1296543"/>
            <a:ext cx="11156400" cy="49668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CB28405B-4E36-3749-A149-C32150EE17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7365" y="6400800"/>
            <a:ext cx="426914" cy="429768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 anchor="ctr" anchorCtr="1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E791AF3-C558-4F05-8E83-FCCF162642E7}" type="slidenum">
              <a:rPr lang="en-GB" smtClean="0"/>
              <a:t>‹#›</a:t>
            </a:fld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EAC5401-B794-1C4D-A638-798EB2B93A3B}"/>
              </a:ext>
            </a:extLst>
          </p:cNvPr>
          <p:cNvSpPr txBox="1"/>
          <p:nvPr/>
        </p:nvSpPr>
        <p:spPr>
          <a:xfrm>
            <a:off x="1011514" y="6502165"/>
            <a:ext cx="10255926" cy="1932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 defTabSz="914400">
              <a:defRPr/>
            </a:pPr>
            <a:r>
              <a:rPr lang="en-US" sz="800" b="1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© 2020 TE Connectivity.</a:t>
            </a:r>
            <a:r>
              <a:rPr lang="en-US" sz="800" b="1">
                <a:solidFill>
                  <a:schemeClr val="tx1"/>
                </a:solidFill>
                <a:effectLst/>
                <a:latin typeface="Arial"/>
                <a:cs typeface="Arial"/>
              </a:rPr>
              <a:t> </a:t>
            </a:r>
            <a:r>
              <a:rPr lang="en-US" sz="800">
                <a:solidFill>
                  <a:schemeClr val="tx1"/>
                </a:solidFill>
                <a:latin typeface="Arial"/>
                <a:cs typeface="Arial"/>
              </a:rPr>
              <a:t>Confidential &amp; Proprietary. Do not reproduce or distribute externally including non-authorized representatives and distributors. </a:t>
            </a:r>
            <a:r>
              <a:rPr lang="en-US" sz="8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 a sustainable future by limiting print copies, and recycling paper.</a:t>
            </a:r>
            <a:endParaRPr lang="en-US" sz="80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99BD22-669C-A241-B1AD-864FE94B365C}"/>
              </a:ext>
            </a:extLst>
          </p:cNvPr>
          <p:cNvCxnSpPr>
            <a:cxnSpLocks/>
          </p:cNvCxnSpPr>
          <p:nvPr/>
        </p:nvCxnSpPr>
        <p:spPr>
          <a:xfrm>
            <a:off x="0" y="6851527"/>
            <a:ext cx="12192000" cy="0"/>
          </a:xfrm>
          <a:prstGeom prst="line">
            <a:avLst/>
          </a:prstGeom>
          <a:ln w="444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1637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4" r:id="rId2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teams.connect.te.com/sites/TEOA/instructor%20workspace/English%20Modules/TEOA%20107%205S/ENG_FO_5102_C(830198).xlsx?Web=1" TargetMode="External"/><Relationship Id="rId13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3.xml"/><Relationship Id="rId12" Type="http://schemas.openxmlformats.org/officeDocument/2006/relationships/slide" Target="slide3.xml"/><Relationship Id="rId17" Type="http://schemas.openxmlformats.org/officeDocument/2006/relationships/image" Target="../media/image23.png"/><Relationship Id="rId2" Type="http://schemas.openxmlformats.org/officeDocument/2006/relationships/tags" Target="../tags/tag2.xml"/><Relationship Id="rId16" Type="http://schemas.openxmlformats.org/officeDocument/2006/relationships/image" Target="../media/image11.sv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2.emf"/><Relationship Id="rId5" Type="http://schemas.openxmlformats.org/officeDocument/2006/relationships/tags" Target="../tags/tag5.xml"/><Relationship Id="rId15" Type="http://schemas.openxmlformats.org/officeDocument/2006/relationships/image" Target="../media/image10.png"/><Relationship Id="rId10" Type="http://schemas.openxmlformats.org/officeDocument/2006/relationships/hyperlink" Target="https://dmtec.tycoelectronics.com/dmtec/GotoDocumentSearch.do" TargetMode="External"/><Relationship Id="rId4" Type="http://schemas.openxmlformats.org/officeDocument/2006/relationships/tags" Target="../tags/tag4.xml"/><Relationship Id="rId9" Type="http://schemas.openxmlformats.org/officeDocument/2006/relationships/hyperlink" Target="https://teams.connect.te.com/sites/TEOA/instructor%20workspace/English%20Modules/TEOA%20107%205S/Form%205090.doc" TargetMode="External"/><Relationship Id="rId14" Type="http://schemas.openxmlformats.org/officeDocument/2006/relationships/slide" Target="slid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" Target="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slide" Target="slide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25.jpeg"/><Relationship Id="rId3" Type="http://schemas.openxmlformats.org/officeDocument/2006/relationships/tags" Target="../tags/tag9.xml"/><Relationship Id="rId7" Type="http://schemas.openxmlformats.org/officeDocument/2006/relationships/slide" Target="slide3.xml"/><Relationship Id="rId12" Type="http://schemas.openxmlformats.org/officeDocument/2006/relationships/image" Target="../media/image24.jpeg"/><Relationship Id="rId2" Type="http://schemas.openxmlformats.org/officeDocument/2006/relationships/tags" Target="../tags/tag8.xml"/><Relationship Id="rId16" Type="http://schemas.openxmlformats.org/officeDocument/2006/relationships/image" Target="../media/image12.png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1.svg"/><Relationship Id="rId5" Type="http://schemas.openxmlformats.org/officeDocument/2006/relationships/tags" Target="../tags/tag11.xml"/><Relationship Id="rId15" Type="http://schemas.openxmlformats.org/officeDocument/2006/relationships/hyperlink" Target="https://teams.connect.te.com/sites/TEOA/instructor%20workspace/English%20Modules/TEOA%20107%205S/RED%20TAGs%20Rev%202.docx" TargetMode="External"/><Relationship Id="rId10" Type="http://schemas.openxmlformats.org/officeDocument/2006/relationships/image" Target="../media/image10.png"/><Relationship Id="rId4" Type="http://schemas.openxmlformats.org/officeDocument/2006/relationships/tags" Target="../tags/tag10.xml"/><Relationship Id="rId9" Type="http://schemas.openxmlformats.org/officeDocument/2006/relationships/slide" Target="slide5.xml"/><Relationship Id="rId14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image" Target="../media/image13.png"/><Relationship Id="rId3" Type="http://schemas.openxmlformats.org/officeDocument/2006/relationships/image" Target="../media/image27.png"/><Relationship Id="rId7" Type="http://schemas.openxmlformats.org/officeDocument/2006/relationships/image" Target="../media/image31.jpeg"/><Relationship Id="rId12" Type="http://schemas.openxmlformats.org/officeDocument/2006/relationships/slide" Target="slide3.x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1.svg"/><Relationship Id="rId1" Type="http://schemas.openxmlformats.org/officeDocument/2006/relationships/tags" Target="../tags/tag12.xml"/><Relationship Id="rId6" Type="http://schemas.openxmlformats.org/officeDocument/2006/relationships/image" Target="../media/image30.jpeg"/><Relationship Id="rId11" Type="http://schemas.openxmlformats.org/officeDocument/2006/relationships/image" Target="../media/image35.jpeg"/><Relationship Id="rId5" Type="http://schemas.openxmlformats.org/officeDocument/2006/relationships/image" Target="../media/image29.jpeg"/><Relationship Id="rId15" Type="http://schemas.openxmlformats.org/officeDocument/2006/relationships/image" Target="../media/image10.png"/><Relationship Id="rId10" Type="http://schemas.openxmlformats.org/officeDocument/2006/relationships/image" Target="../media/image34.jpeg"/><Relationship Id="rId4" Type="http://schemas.openxmlformats.org/officeDocument/2006/relationships/image" Target="../media/image28.jpeg"/><Relationship Id="rId9" Type="http://schemas.openxmlformats.org/officeDocument/2006/relationships/image" Target="../media/image33.jpeg"/><Relationship Id="rId14" Type="http://schemas.openxmlformats.org/officeDocument/2006/relationships/slide" Target="slide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0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" Target="slide5.xml"/><Relationship Id="rId5" Type="http://schemas.openxmlformats.org/officeDocument/2006/relationships/image" Target="../media/image13.png"/><Relationship Id="rId10" Type="http://schemas.openxmlformats.org/officeDocument/2006/relationships/image" Target="../media/image37.jpeg"/><Relationship Id="rId4" Type="http://schemas.openxmlformats.org/officeDocument/2006/relationships/slide" Target="slide3.xml"/><Relationship Id="rId9" Type="http://schemas.openxmlformats.org/officeDocument/2006/relationships/image" Target="../media/image36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13" Type="http://schemas.openxmlformats.org/officeDocument/2006/relationships/image" Target="../media/image40.jpeg"/><Relationship Id="rId18" Type="http://schemas.openxmlformats.org/officeDocument/2006/relationships/image" Target="../media/image43.png"/><Relationship Id="rId3" Type="http://schemas.openxmlformats.org/officeDocument/2006/relationships/tags" Target="../tags/tag17.xml"/><Relationship Id="rId7" Type="http://schemas.openxmlformats.org/officeDocument/2006/relationships/image" Target="../media/image13.png"/><Relationship Id="rId12" Type="http://schemas.openxmlformats.org/officeDocument/2006/relationships/image" Target="../media/image39.png"/><Relationship Id="rId17" Type="http://schemas.openxmlformats.org/officeDocument/2006/relationships/image" Target="../media/image12.png"/><Relationship Id="rId2" Type="http://schemas.openxmlformats.org/officeDocument/2006/relationships/tags" Target="../tags/tag16.xml"/><Relationship Id="rId16" Type="http://schemas.openxmlformats.org/officeDocument/2006/relationships/image" Target="../media/image42.jpeg"/><Relationship Id="rId1" Type="http://schemas.openxmlformats.org/officeDocument/2006/relationships/tags" Target="../tags/tag15.xml"/><Relationship Id="rId6" Type="http://schemas.openxmlformats.org/officeDocument/2006/relationships/slide" Target="slide3.xml"/><Relationship Id="rId11" Type="http://schemas.openxmlformats.org/officeDocument/2006/relationships/image" Target="../media/image38.jpeg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41.jpeg"/><Relationship Id="rId10" Type="http://schemas.openxmlformats.org/officeDocument/2006/relationships/image" Target="../media/image11.svg"/><Relationship Id="rId4" Type="http://schemas.openxmlformats.org/officeDocument/2006/relationships/tags" Target="../tags/tag18.xml"/><Relationship Id="rId9" Type="http://schemas.openxmlformats.org/officeDocument/2006/relationships/image" Target="../media/image10.png"/><Relationship Id="rId14" Type="http://schemas.openxmlformats.org/officeDocument/2006/relationships/hyperlink" Target="https://teams.connect.te.com/sites/TEOA/instructor%20workspace/English%20Modules/TEOA%20124%20Visual%20Mgt/TEOA%20124%20Rev.%20B%20%20Visual%20Guidelines.ppt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13" Type="http://schemas.openxmlformats.org/officeDocument/2006/relationships/image" Target="../media/image11.svg"/><Relationship Id="rId3" Type="http://schemas.openxmlformats.org/officeDocument/2006/relationships/image" Target="../media/image45.png"/><Relationship Id="rId7" Type="http://schemas.openxmlformats.org/officeDocument/2006/relationships/image" Target="../media/image46.jpe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1.vml"/><Relationship Id="rId6" Type="http://schemas.openxmlformats.org/officeDocument/2006/relationships/hyperlink" Target="https://teams.connect.te.com/sites/TEOA/instructor%20workspace/English%20Modules/TEOA%20107%205S/5S%20Trend%20and%20Radarchart_rev1.xlsx?Web=1" TargetMode="External"/><Relationship Id="rId11" Type="http://schemas.openxmlformats.org/officeDocument/2006/relationships/slide" Target="slide5.xml"/><Relationship Id="rId5" Type="http://schemas.openxmlformats.org/officeDocument/2006/relationships/image" Target="../media/image44.emf"/><Relationship Id="rId15" Type="http://schemas.openxmlformats.org/officeDocument/2006/relationships/image" Target="../media/image48.png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1.bin"/><Relationship Id="rId9" Type="http://schemas.openxmlformats.org/officeDocument/2006/relationships/slide" Target="slide3.xml"/><Relationship Id="rId1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50.jpeg"/><Relationship Id="rId7" Type="http://schemas.openxmlformats.org/officeDocument/2006/relationships/image" Target="../media/image1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3.xml"/><Relationship Id="rId6" Type="http://schemas.openxmlformats.org/officeDocument/2006/relationships/slide" Target="slide5.xml"/><Relationship Id="rId5" Type="http://schemas.openxmlformats.org/officeDocument/2006/relationships/image" Target="../media/image13.png"/><Relationship Id="rId4" Type="http://schemas.openxmlformats.org/officeDocument/2006/relationships/slide" Target="slide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3.png"/><Relationship Id="rId7" Type="http://schemas.openxmlformats.org/officeDocument/2006/relationships/image" Target="../media/image51.png"/><Relationship Id="rId2" Type="http://schemas.openxmlformats.org/officeDocument/2006/relationships/slide" Target="slide3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slide" Target="slide5.xml"/><Relationship Id="rId9" Type="http://schemas.openxmlformats.org/officeDocument/2006/relationships/hyperlink" Target="https://teams.connect.te.com/sites/TEOA/instructor%20workspace/English%20Modules/TEOA%20107%205S/5S%20Training%20with%20Numbers%20Game.pptx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hyperlink" Target="http://sdp.us.tycoelectronics.com/SDPReportDetail.aspx?RTID=1&amp;SID=637280715416608683&amp;PrevURL=SDPSearch.aspx?SID%3d637280715416608683" TargetMode="External"/><Relationship Id="rId7" Type="http://schemas.openxmlformats.org/officeDocument/2006/relationships/image" Target="../media/image10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3.xml"/><Relationship Id="rId6" Type="http://schemas.openxmlformats.org/officeDocument/2006/relationships/slide" Target="slide5.xml"/><Relationship Id="rId5" Type="http://schemas.openxmlformats.org/officeDocument/2006/relationships/image" Target="../media/image13.png"/><Relationship Id="rId4" Type="http://schemas.openxmlformats.org/officeDocument/2006/relationships/slide" Target="slide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" Target="slide14.xml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diagramColors" Target="../diagrams/colors5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diagramQuickStyle" Target="../diagrams/quickStyle5.xml"/><Relationship Id="rId2" Type="http://schemas.openxmlformats.org/officeDocument/2006/relationships/slide" Target="slide21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29" Type="http://schemas.openxmlformats.org/officeDocument/2006/relationships/image" Target="../media/image15.svg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diagramLayout" Target="../diagrams/layout5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diagramData" Target="../diagrams/data5.xml"/><Relationship Id="rId28" Type="http://schemas.openxmlformats.org/officeDocument/2006/relationships/image" Target="../media/image53.png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microsoft.com/office/2007/relationships/diagramDrawing" Target="../diagrams/drawing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5S_(methodology)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20.xml"/><Relationship Id="rId3" Type="http://schemas.openxmlformats.org/officeDocument/2006/relationships/slide" Target="slide7.xml"/><Relationship Id="rId7" Type="http://schemas.openxmlformats.org/officeDocument/2006/relationships/slide" Target="slide19.xml"/><Relationship Id="rId12" Type="http://schemas.openxmlformats.org/officeDocument/2006/relationships/image" Target="../media/image13.png"/><Relationship Id="rId2" Type="http://schemas.openxmlformats.org/officeDocument/2006/relationships/slide" Target="slide6.xml"/><Relationship Id="rId1" Type="http://schemas.openxmlformats.org/officeDocument/2006/relationships/slideLayout" Target="../slideLayouts/slideLayout12.xml"/><Relationship Id="rId6" Type="http://schemas.openxmlformats.org/officeDocument/2006/relationships/slide" Target="slide12.xml"/><Relationship Id="rId11" Type="http://schemas.openxmlformats.org/officeDocument/2006/relationships/slide" Target="slide3.xml"/><Relationship Id="rId5" Type="http://schemas.openxmlformats.org/officeDocument/2006/relationships/slide" Target="slide9.xml"/><Relationship Id="rId10" Type="http://schemas.openxmlformats.org/officeDocument/2006/relationships/image" Target="../media/image17.svg"/><Relationship Id="rId4" Type="http://schemas.openxmlformats.org/officeDocument/2006/relationships/slide" Target="slide8.xml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" Target="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slide" Target="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" Target="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slide" Target="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" Target="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slide" Target="slide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hyperlink" Target="https://teams.connect.te.com/sites/TEOA/instructor%20workspace/English%20Modules/TEOA%20107%205S/ENG_FO_5102_C(830198).xlsx?Web=1" TargetMode="External"/><Relationship Id="rId7" Type="http://schemas.openxmlformats.org/officeDocument/2006/relationships/slide" Target="slide5.xml"/><Relationship Id="rId12" Type="http://schemas.openxmlformats.org/officeDocument/2006/relationships/image" Target="../media/image12.png"/><Relationship Id="rId2" Type="http://schemas.openxmlformats.org/officeDocument/2006/relationships/hyperlink" Target="https://teams.connect.te.com/sites/TEOA/instructor%20workspace/English%20Modules/TEOA%20107%205S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image" Target="../media/image21.png"/><Relationship Id="rId5" Type="http://schemas.openxmlformats.org/officeDocument/2006/relationships/slide" Target="slide3.xml"/><Relationship Id="rId10" Type="http://schemas.openxmlformats.org/officeDocument/2006/relationships/image" Target="../media/image20.jpeg"/><Relationship Id="rId4" Type="http://schemas.openxmlformats.org/officeDocument/2006/relationships/hyperlink" Target="https://www.youtube.com/watch?v=jPXYa3FQP8k" TargetMode="External"/><Relationship Id="rId9" Type="http://schemas.openxmlformats.org/officeDocument/2006/relationships/image" Target="../media/image1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C6DA5B3-5ECF-4453-84C1-8593A9DA912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5S &amp; Visual Management Playbook</a:t>
            </a:r>
            <a:br>
              <a:rPr lang="en-GB" dirty="0"/>
            </a:br>
            <a:br>
              <a:rPr lang="en-GB" dirty="0"/>
            </a:br>
            <a:r>
              <a:rPr lang="en-US" dirty="0"/>
              <a:t>TEC-406-160018</a:t>
            </a:r>
            <a:br>
              <a:rPr lang="en-GB" dirty="0"/>
            </a:br>
            <a:endParaRPr lang="en-GB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7C20FABB-2F15-42F5-9CE9-AA271317BD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August 2020</a:t>
            </a:r>
          </a:p>
          <a:p>
            <a:endParaRPr lang="en-GB" dirty="0"/>
          </a:p>
          <a:p>
            <a:r>
              <a:rPr lang="en-GB" dirty="0"/>
              <a:t>Global Operations</a:t>
            </a:r>
          </a:p>
        </p:txBody>
      </p:sp>
    </p:spTree>
    <p:extLst>
      <p:ext uri="{BB962C8B-B14F-4D97-AF65-F5344CB8AC3E}">
        <p14:creationId xmlns:p14="http://schemas.microsoft.com/office/powerpoint/2010/main" val="23621806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BC577F-832B-45E1-9A3C-2459BBD9A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050" y="141990"/>
            <a:ext cx="9829800" cy="457200"/>
          </a:xfrm>
        </p:spPr>
        <p:txBody>
          <a:bodyPr/>
          <a:lstStyle/>
          <a:p>
            <a:r>
              <a:rPr lang="en-GB" dirty="0"/>
              <a:t>4. How to implement 5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605BFB-9DD7-4EE4-94BB-A42D5839786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09315" y="922096"/>
            <a:ext cx="7377248" cy="502204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400" b="1" dirty="0"/>
              <a:t>Diagnose and Design</a:t>
            </a:r>
            <a:r>
              <a:rPr lang="en-US" sz="2400" dirty="0"/>
              <a:t>:</a:t>
            </a:r>
            <a:endParaRPr lang="en-US" sz="2400" dirty="0">
              <a:cs typeface="Arial"/>
            </a:endParaRPr>
          </a:p>
          <a:p>
            <a:pPr lvl="1">
              <a:spcAft>
                <a:spcPct val="30000"/>
              </a:spcAft>
            </a:pPr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Use TE </a:t>
            </a:r>
            <a:r>
              <a:rPr lang="en-US" sz="2400" b="1" dirty="0">
                <a:solidFill>
                  <a:srgbClr val="666666"/>
                </a:solidFill>
                <a:cs typeface="Arial"/>
                <a:hlinkClick r:id="rId8" tooltip="Click here to access the Form 5102 on the TEOA SahrePoint"/>
              </a:rPr>
              <a:t>Form 5102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or </a:t>
            </a:r>
            <a:r>
              <a:rPr lang="en-US" sz="2400" b="1" dirty="0">
                <a:solidFill>
                  <a:schemeClr val="bg1">
                    <a:lumMod val="50000"/>
                  </a:schemeClr>
                </a:solidFill>
                <a:hlinkClick r:id="rId9" tooltip="Click here to access the From 5090 on the TEOA SharePoint"/>
              </a:rPr>
              <a:t>Form 5090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to complete a current state 5S assessment to create a baseline for improvement.</a:t>
            </a:r>
          </a:p>
          <a:p>
            <a:pPr lvl="2">
              <a:spcAft>
                <a:spcPct val="30000"/>
              </a:spcAft>
            </a:pPr>
            <a:r>
              <a:rPr lang="en-US" sz="1600" b="1" dirty="0">
                <a:solidFill>
                  <a:schemeClr val="bg1">
                    <a:lumMod val="50000"/>
                  </a:schemeClr>
                </a:solidFill>
              </a:rPr>
              <a:t>Note: TE form 5102 is also available on </a:t>
            </a:r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hlinkClick r:id="rId10"/>
              </a:rPr>
              <a:t>DM TEC</a:t>
            </a:r>
            <a:endParaRPr lang="en-US" sz="1600" b="1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spcAft>
                <a:spcPct val="30000"/>
              </a:spcAft>
            </a:pPr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  <a:p>
            <a:pPr lvl="1"/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In conjunction with local management, establish the next target for 5S score. </a:t>
            </a:r>
          </a:p>
          <a:p>
            <a:pPr lvl="1"/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  <a:p>
            <a:pPr lvl="1"/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Communicate the initial 5S assessment score to all stakeholders, as well as the resulting plans to move forward.</a:t>
            </a:r>
          </a:p>
          <a:p>
            <a:pPr marL="228600" lvl="1" indent="0">
              <a:buNone/>
            </a:pPr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  <a:p>
            <a:pPr lvl="1"/>
            <a:endParaRPr lang="en-US" sz="2400" dirty="0"/>
          </a:p>
          <a:p>
            <a:endParaRPr lang="en-US" sz="2400" b="1" dirty="0">
              <a:cs typeface="Arial"/>
            </a:endParaRPr>
          </a:p>
          <a:p>
            <a:r>
              <a:rPr lang="en-US" sz="2400" dirty="0"/>
              <a:t>  </a:t>
            </a:r>
            <a:endParaRPr lang="en-US" sz="2400" b="1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endParaRPr lang="en-US" sz="36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BE2417-2AD3-4420-8E81-EB1E55A420A2}"/>
              </a:ext>
            </a:extLst>
          </p:cNvPr>
          <p:cNvSpPr txBox="1"/>
          <p:nvPr/>
        </p:nvSpPr>
        <p:spPr>
          <a:xfrm>
            <a:off x="6377555" y="5983327"/>
            <a:ext cx="2460978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endParaRPr lang="en-US">
              <a:cs typeface="Arial"/>
            </a:endParaRPr>
          </a:p>
        </p:txBody>
      </p:sp>
      <p:grpSp>
        <p:nvGrpSpPr>
          <p:cNvPr id="12" name="Group 19">
            <a:extLst>
              <a:ext uri="{FF2B5EF4-FFF2-40B4-BE49-F238E27FC236}">
                <a16:creationId xmlns:a16="http://schemas.microsoft.com/office/drawing/2014/main" id="{E62FFD18-038C-4925-A3AC-36179F1FEE6B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0910460" y="2395041"/>
            <a:ext cx="1219200" cy="427038"/>
            <a:chOff x="1240" y="1968"/>
            <a:chExt cx="960" cy="960"/>
          </a:xfrm>
        </p:grpSpPr>
        <p:sp>
          <p:nvSpPr>
            <p:cNvPr id="13" name="Rectangle 20">
              <a:extLst>
                <a:ext uri="{FF2B5EF4-FFF2-40B4-BE49-F238E27FC236}">
                  <a16:creationId xmlns:a16="http://schemas.microsoft.com/office/drawing/2014/main" id="{C7548D40-BEA5-4ED5-BE24-5DDF38EA06D0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rgbClr val="0073AE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-25000" noProof="0">
                <a:ln>
                  <a:noFill/>
                </a:ln>
                <a:solidFill>
                  <a:srgbClr val="0073AE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" name="Rectangle 21">
              <a:extLst>
                <a:ext uri="{FF2B5EF4-FFF2-40B4-BE49-F238E27FC236}">
                  <a16:creationId xmlns:a16="http://schemas.microsoft.com/office/drawing/2014/main" id="{515F40D6-6E4B-4A16-A652-D6D299238C0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73AE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500" tIns="63500" rIns="63500" bIns="0" anchor="ctr"/>
            <a:lstStyle>
              <a:lvl1pPr marL="158750" indent="-158750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46075" indent="-185738" eaLnBrk="0" hangingPunct="0"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30225" indent="-182563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08025" indent="-176213" eaLnBrk="0" hangingPunct="0"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85825" indent="-176213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43025" indent="-176213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00225" indent="-176213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57425" indent="-176213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14625" indent="-176213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158750" marR="0" lvl="0" indent="-15875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73A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hlinkClick r:id="rId8" tooltip="Click here to access the Form 5102 on the TEOA SharePoint"/>
                </a:rPr>
                <a:t>5102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73A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17">
            <a:extLst>
              <a:ext uri="{FF2B5EF4-FFF2-40B4-BE49-F238E27FC236}">
                <a16:creationId xmlns:a16="http://schemas.microsoft.com/office/drawing/2014/main" id="{1B8008AC-495B-4C0B-BD65-41CF759DE7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38533" y="3298413"/>
            <a:ext cx="1828800" cy="2757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8" name="Group 22">
            <a:extLst>
              <a:ext uri="{FF2B5EF4-FFF2-40B4-BE49-F238E27FC236}">
                <a16:creationId xmlns:a16="http://schemas.microsoft.com/office/drawing/2014/main" id="{EFC3D7F7-9267-4D24-91BD-DBE4830509F6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10844734" y="5238838"/>
            <a:ext cx="1219200" cy="427038"/>
            <a:chOff x="1240" y="1968"/>
            <a:chExt cx="960" cy="960"/>
          </a:xfrm>
        </p:grpSpPr>
        <p:sp>
          <p:nvSpPr>
            <p:cNvPr id="19" name="Rectangle 23">
              <a:extLst>
                <a:ext uri="{FF2B5EF4-FFF2-40B4-BE49-F238E27FC236}">
                  <a16:creationId xmlns:a16="http://schemas.microsoft.com/office/drawing/2014/main" id="{68606E0B-BF17-4960-A20D-5C78BFD8407B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rgbClr val="0073AE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-25000" noProof="0">
                <a:ln>
                  <a:noFill/>
                </a:ln>
                <a:solidFill>
                  <a:srgbClr val="0073AE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0" name="Rectangle 24">
              <a:extLst>
                <a:ext uri="{FF2B5EF4-FFF2-40B4-BE49-F238E27FC236}">
                  <a16:creationId xmlns:a16="http://schemas.microsoft.com/office/drawing/2014/main" id="{8D768C3A-A032-4AFE-BB7B-F847A60DFDD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73AE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500" tIns="63500" rIns="63500" bIns="0" anchor="ctr"/>
            <a:lstStyle>
              <a:lvl1pPr marL="158750" indent="-158750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46075" indent="-185738" eaLnBrk="0" hangingPunct="0"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530225" indent="-182563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708025" indent="-176213" eaLnBrk="0" hangingPunct="0"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885825" indent="-176213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43025" indent="-176213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00225" indent="-176213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57425" indent="-176213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14625" indent="-176213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158750" marR="0" lvl="0" indent="-15875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73A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hlinkClick r:id="rId9" tooltip="Click here to access Form 5090 on the TEOA SharePoint"/>
                </a:rPr>
                <a:t>5090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73A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7" name="Picture 16">
            <a:hlinkClick r:id="rId12" action="ppaction://hlinksldjump"/>
            <a:extLst>
              <a:ext uri="{FF2B5EF4-FFF2-40B4-BE49-F238E27FC236}">
                <a16:creationId xmlns:a16="http://schemas.microsoft.com/office/drawing/2014/main" id="{008CEB89-F622-4568-B726-568641C9EE48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4334" y="6329276"/>
            <a:ext cx="696600" cy="414021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33C09A17-9BD4-4BC8-8101-904C84363AAD}"/>
              </a:ext>
            </a:extLst>
          </p:cNvPr>
          <p:cNvGrpSpPr/>
          <p:nvPr/>
        </p:nvGrpSpPr>
        <p:grpSpPr>
          <a:xfrm>
            <a:off x="38941" y="6193279"/>
            <a:ext cx="1289135" cy="664721"/>
            <a:chOff x="8407400" y="5845092"/>
            <a:chExt cx="1289135" cy="672559"/>
          </a:xfrm>
        </p:grpSpPr>
        <p:pic>
          <p:nvPicPr>
            <p:cNvPr id="26" name="Graphic 25" descr="List">
              <a:hlinkClick r:id="rId14" action="ppaction://hlinksldjump"/>
              <a:extLst>
                <a:ext uri="{FF2B5EF4-FFF2-40B4-BE49-F238E27FC236}">
                  <a16:creationId xmlns:a16="http://schemas.microsoft.com/office/drawing/2014/main" id="{D451B6C4-1A3D-4426-8665-7567D7E658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FE5C0D6-1CD8-4983-90A8-B5C96D6BAB07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 dirty="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D691D25F-D96A-42A3-BA9C-0D477555544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731760" y="600439"/>
            <a:ext cx="3188859" cy="2421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2108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1C4756-F678-4BD9-9206-AA7226DC080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16000" y="934021"/>
            <a:ext cx="11160000" cy="498995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b="1" dirty="0">
                <a:ea typeface="+mn-lt"/>
                <a:cs typeface="+mn-lt"/>
              </a:rPr>
              <a:t>Implement:</a:t>
            </a:r>
          </a:p>
          <a:p>
            <a:endParaRPr lang="en-US" b="1">
              <a:solidFill>
                <a:srgbClr val="0070C0"/>
              </a:solidFill>
              <a:ea typeface="+mn-lt"/>
              <a:cs typeface="+mn-lt"/>
            </a:endParaRPr>
          </a:p>
          <a:p>
            <a:endParaRPr lang="en-US" b="1">
              <a:solidFill>
                <a:srgbClr val="0070C0"/>
              </a:solidFill>
              <a:ea typeface="+mn-lt"/>
              <a:cs typeface="+mn-lt"/>
            </a:endParaRPr>
          </a:p>
          <a:p>
            <a:endParaRPr lang="en-US" b="1">
              <a:solidFill>
                <a:srgbClr val="0070C0"/>
              </a:solidFill>
              <a:ea typeface="+mn-lt"/>
              <a:cs typeface="+mn-lt"/>
            </a:endParaRPr>
          </a:p>
          <a:p>
            <a:endParaRPr lang="en-US" b="1">
              <a:solidFill>
                <a:srgbClr val="0070C0"/>
              </a:solidFill>
              <a:ea typeface="+mn-lt"/>
              <a:cs typeface="+mn-lt"/>
            </a:endParaRPr>
          </a:p>
          <a:p>
            <a:endParaRPr lang="en-US" b="1">
              <a:solidFill>
                <a:srgbClr val="0070C0"/>
              </a:solidFill>
              <a:ea typeface="+mn-lt"/>
              <a:cs typeface="+mn-lt"/>
            </a:endParaRPr>
          </a:p>
          <a:p>
            <a:endParaRPr lang="en-US" b="1">
              <a:solidFill>
                <a:srgbClr val="0070C0"/>
              </a:solidFill>
              <a:ea typeface="+mn-lt"/>
              <a:cs typeface="+mn-lt"/>
            </a:endParaRPr>
          </a:p>
          <a:p>
            <a:endParaRPr lang="en-US" b="1">
              <a:solidFill>
                <a:srgbClr val="0070C0"/>
              </a:solidFill>
              <a:ea typeface="+mn-lt"/>
              <a:cs typeface="+mn-lt"/>
            </a:endParaRPr>
          </a:p>
          <a:p>
            <a:r>
              <a:rPr lang="en-US" sz="2000" b="1" dirty="0">
                <a:ea typeface="+mn-lt"/>
                <a:cs typeface="+mn-lt"/>
              </a:rPr>
              <a:t>Sustain:</a:t>
            </a:r>
          </a:p>
          <a:p>
            <a:endParaRPr lang="en-US">
              <a:solidFill>
                <a:srgbClr val="0070C0"/>
              </a:solidFill>
              <a:ea typeface="+mn-lt"/>
              <a:cs typeface="+mn-lt"/>
            </a:endParaRPr>
          </a:p>
          <a:p>
            <a:pPr marL="1885950" lvl="3" indent="-285750">
              <a:buFont typeface="Wingdings" panose="05000000000000000000" pitchFamily="2" charset="2"/>
              <a:buChar char="§"/>
            </a:pPr>
            <a:r>
              <a:rPr lang="en-US" sz="1600">
                <a:ea typeface="+mn-lt"/>
                <a:cs typeface="+mn-lt"/>
              </a:rPr>
              <a:t>	</a:t>
            </a:r>
          </a:p>
          <a:p>
            <a:pPr marL="742950" lvl="1" indent="-285750">
              <a:buFont typeface="Arial"/>
              <a:buChar char="•"/>
            </a:pPr>
            <a:endParaRPr lang="en-US">
              <a:ea typeface="+mn-lt"/>
              <a:cs typeface="+mn-lt"/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26267D1C-9C31-4CCD-9CA5-6BB574F4F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141990"/>
            <a:ext cx="9829800" cy="457200"/>
          </a:xfrm>
        </p:spPr>
        <p:txBody>
          <a:bodyPr/>
          <a:lstStyle/>
          <a:p>
            <a:r>
              <a:rPr lang="en-GB" dirty="0"/>
              <a:t>4. How to implement 5S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9A4E4836-1AA8-4B8D-8D1E-E9E0DB02E0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9899091"/>
              </p:ext>
            </p:extLst>
          </p:nvPr>
        </p:nvGraphicFramePr>
        <p:xfrm>
          <a:off x="516000" y="1280233"/>
          <a:ext cx="11396820" cy="219456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279364">
                  <a:extLst>
                    <a:ext uri="{9D8B030D-6E8A-4147-A177-3AD203B41FA5}">
                      <a16:colId xmlns:a16="http://schemas.microsoft.com/office/drawing/2014/main" val="1567481144"/>
                    </a:ext>
                  </a:extLst>
                </a:gridCol>
                <a:gridCol w="9117456">
                  <a:extLst>
                    <a:ext uri="{9D8B030D-6E8A-4147-A177-3AD203B41FA5}">
                      <a16:colId xmlns:a16="http://schemas.microsoft.com/office/drawing/2014/main" val="14144435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b="1" dirty="0"/>
                        <a:t>1 – SORT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l-NL" sz="1800" b="0" dirty="0"/>
                        <a:t>Identifying and keeping </a:t>
                      </a:r>
                      <a:r>
                        <a:rPr lang="nl-NL" sz="1800" b="1" u="sng" dirty="0"/>
                        <a:t>only the materials, tools and equipment necessary</a:t>
                      </a:r>
                      <a:r>
                        <a:rPr lang="nl-NL" sz="1800" b="0" dirty="0"/>
                        <a:t> to successfully complete the work. 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858060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b="1" dirty="0"/>
                        <a:t>2- SET IN ORDER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ganizing</a:t>
                      </a: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orkplace</a:t>
                      </a: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</a:t>
                      </a: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at</a:t>
                      </a: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ols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terials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at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re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cessary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mplete </a:t>
                      </a:r>
                      <a:r>
                        <a:rPr lang="nl-NL" sz="18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job are </a:t>
                      </a:r>
                      <a:r>
                        <a:rPr lang="nl-NL" sz="18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adily</a:t>
                      </a: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vailable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grated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o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flow of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ork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re is a place designated for each item and each item is in each plac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87079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b="1" dirty="0"/>
                        <a:t>3-SHINE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eaning and inspecting the work area and equipment on a daily basis to 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sure that everything is in the proper location and functioning properly.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087959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D23738C-1926-4C61-84C4-925A7E5FB6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1108464"/>
              </p:ext>
            </p:extLst>
          </p:nvPr>
        </p:nvGraphicFramePr>
        <p:xfrm>
          <a:off x="515999" y="4127818"/>
          <a:ext cx="11396820" cy="155448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279364">
                  <a:extLst>
                    <a:ext uri="{9D8B030D-6E8A-4147-A177-3AD203B41FA5}">
                      <a16:colId xmlns:a16="http://schemas.microsoft.com/office/drawing/2014/main" val="3453489273"/>
                    </a:ext>
                  </a:extLst>
                </a:gridCol>
                <a:gridCol w="9117456">
                  <a:extLst>
                    <a:ext uri="{9D8B030D-6E8A-4147-A177-3AD203B41FA5}">
                      <a16:colId xmlns:a16="http://schemas.microsoft.com/office/drawing/2014/main" val="28918155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b="1" dirty="0"/>
                        <a:t>4 – STANDARDIZE / VISUAL MANAGEMENT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ndardizing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n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est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actices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thods</a:t>
                      </a: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Making </a:t>
                      </a:r>
                      <a:r>
                        <a:rPr lang="nl-NL" sz="18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ndards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1" u="sng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sual</a:t>
                      </a:r>
                      <a:r>
                        <a:rPr lang="nl-NL" sz="1800" b="1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8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vious</a:t>
                      </a:r>
                      <a:r>
                        <a:rPr lang="nl-NL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This becomes the baseline for continuous improvement.</a:t>
                      </a:r>
                    </a:p>
                    <a:p>
                      <a:endParaRPr lang="en-US" sz="1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481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b="1" dirty="0"/>
                        <a:t>5 – SUSTAIN </a:t>
                      </a:r>
                      <a:endParaRPr lang="en-US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1800" b="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form </a:t>
                      </a:r>
                      <a:r>
                        <a:rPr lang="en-US" altLang="en-US" sz="1800" b="1" u="sng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gular 5S audits </a:t>
                      </a:r>
                      <a:r>
                        <a:rPr lang="en-US" altLang="en-US" sz="1800" b="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 ensure compliance to standards and continuous improvement of them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9172662"/>
                  </a:ext>
                </a:extLst>
              </a:tr>
            </a:tbl>
          </a:graphicData>
        </a:graphic>
      </p:graphicFrame>
      <p:pic>
        <p:nvPicPr>
          <p:cNvPr id="10" name="Picture 9">
            <a:hlinkClick r:id="rId2" action="ppaction://hlinksldjump"/>
            <a:extLst>
              <a:ext uri="{FF2B5EF4-FFF2-40B4-BE49-F238E27FC236}">
                <a16:creationId xmlns:a16="http://schemas.microsoft.com/office/drawing/2014/main" id="{3D5D2214-D030-42EF-963B-F10020C3CF8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4334" y="6329276"/>
            <a:ext cx="696600" cy="41402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A8B95E18-CF83-41B8-99AB-33F690EEED08}"/>
              </a:ext>
            </a:extLst>
          </p:cNvPr>
          <p:cNvGrpSpPr/>
          <p:nvPr/>
        </p:nvGrpSpPr>
        <p:grpSpPr>
          <a:xfrm>
            <a:off x="38941" y="6193279"/>
            <a:ext cx="1289135" cy="664721"/>
            <a:chOff x="8407400" y="5845092"/>
            <a:chExt cx="1289135" cy="672559"/>
          </a:xfrm>
        </p:grpSpPr>
        <p:pic>
          <p:nvPicPr>
            <p:cNvPr id="12" name="Graphic 11" descr="List">
              <a:hlinkClick r:id="rId4" action="ppaction://hlinksldjump"/>
              <a:extLst>
                <a:ext uri="{FF2B5EF4-FFF2-40B4-BE49-F238E27FC236}">
                  <a16:creationId xmlns:a16="http://schemas.microsoft.com/office/drawing/2014/main" id="{6F63B529-3C76-48B0-8EFD-0732A6B446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07EB03-2035-4831-819C-62A933FCC231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 dirty="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375525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F6168-FF1E-4164-9BA3-CC9CEE6D3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869" y="214864"/>
            <a:ext cx="11160000" cy="590706"/>
          </a:xfrm>
        </p:spPr>
        <p:txBody>
          <a:bodyPr/>
          <a:lstStyle/>
          <a:p>
            <a:r>
              <a:rPr lang="en-GB" dirty="0"/>
              <a:t>5S Best Practice Example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8F98737-9FE0-421D-8552-E1815DA684D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9131" y="805570"/>
            <a:ext cx="1539303" cy="347933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sz="2000" b="1" dirty="0">
                <a:cs typeface="Arial"/>
              </a:rPr>
              <a:t>1- SORT</a:t>
            </a:r>
          </a:p>
        </p:txBody>
      </p:sp>
      <p:pic>
        <p:nvPicPr>
          <p:cNvPr id="12" name="Picture 11">
            <a:hlinkClick r:id="rId7" action="ppaction://hlinksldjump"/>
            <a:extLst>
              <a:ext uri="{FF2B5EF4-FFF2-40B4-BE49-F238E27FC236}">
                <a16:creationId xmlns:a16="http://schemas.microsoft.com/office/drawing/2014/main" id="{A1BD09D1-FF78-467A-89D6-5DE15AFA42F1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26160" y="6362276"/>
            <a:ext cx="696600" cy="414021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E69324A-381D-453B-95A1-105D5CD33CC0}"/>
              </a:ext>
            </a:extLst>
          </p:cNvPr>
          <p:cNvGrpSpPr/>
          <p:nvPr/>
        </p:nvGrpSpPr>
        <p:grpSpPr>
          <a:xfrm>
            <a:off x="67115" y="6225311"/>
            <a:ext cx="1289135" cy="664721"/>
            <a:chOff x="8407400" y="5845092"/>
            <a:chExt cx="1289135" cy="672559"/>
          </a:xfrm>
        </p:grpSpPr>
        <p:pic>
          <p:nvPicPr>
            <p:cNvPr id="14" name="Graphic 13" descr="List">
              <a:hlinkClick r:id="rId9" action="ppaction://hlinksldjump"/>
              <a:extLst>
                <a:ext uri="{FF2B5EF4-FFF2-40B4-BE49-F238E27FC236}">
                  <a16:creationId xmlns:a16="http://schemas.microsoft.com/office/drawing/2014/main" id="{D90A99D2-9D2F-4A01-A3F4-D8129C5AA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7ECA274-FFAE-4DB2-8D50-CCFA9ECB8471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 dirty="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8" name="Picture 7" descr="DSCF0098">
            <a:extLst>
              <a:ext uri="{FF2B5EF4-FFF2-40B4-BE49-F238E27FC236}">
                <a16:creationId xmlns:a16="http://schemas.microsoft.com/office/drawing/2014/main" id="{CC29BAF3-5D7A-4646-9B97-C26FA2B3713E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159382" y="1899283"/>
            <a:ext cx="3797656" cy="29241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676D7BE-AF8E-42AC-8F53-E2456B69D8A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11683" y="1327360"/>
            <a:ext cx="109885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74663" indent="-185738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771525" indent="-18256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62038" indent="-176213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52550" indent="-17621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8097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669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241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813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“Red tag</a:t>
            </a:r>
            <a:r>
              <a:rPr lang="en-US" altLang="en-US" sz="1400" kern="0" dirty="0">
                <a:solidFill>
                  <a:srgbClr val="FFFFFF">
                    <a:lumMod val="50000"/>
                  </a:srgbClr>
                </a:solidFill>
              </a:rPr>
              <a:t> area”: everything that is not necessary for the area of study, duplicated or/and in excess </a:t>
            </a: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4EB355A-59BA-4E3D-AB73-9CA97CAB3308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683" y="1899284"/>
            <a:ext cx="3881824" cy="29241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E4B1A7-68F6-4464-BB79-5D024B89FC9F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22913" y="1899284"/>
            <a:ext cx="2177325" cy="29241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64E393F-6AA3-40EF-96F9-AC6C212FE47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16458" y="5149879"/>
            <a:ext cx="377704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74663" indent="-185738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771525" indent="-18256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62038" indent="-176213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52550" indent="-17621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8097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669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241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813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Example of RED Tags on items that were not required and have been moved to a RED TAG Are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1C40859-3E87-4E35-BB5A-CBB79E8B845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159382" y="5120290"/>
            <a:ext cx="377704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74663" indent="-185738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771525" indent="-18256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62038" indent="-176213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52550" indent="-17621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8097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669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241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813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Example of RED Tag Area with sign identifying the area plus barriers to separate it from produc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53D1BD2-4A4C-4D74-A830-4A19BD69318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382125" y="5050744"/>
            <a:ext cx="2678506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74663" indent="-185738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771525" indent="-18256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62038" indent="-176213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52550" indent="-17621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8097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669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241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813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Example of RED Tag Area log. In this case it is a white board to help track what moves in and out of the are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21CFB7-F0D1-4044-BEA7-098A52392CD1}"/>
              </a:ext>
            </a:extLst>
          </p:cNvPr>
          <p:cNvSpPr/>
          <p:nvPr/>
        </p:nvSpPr>
        <p:spPr>
          <a:xfrm>
            <a:off x="1751178" y="5806762"/>
            <a:ext cx="386441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en-US" sz="1600" dirty="0"/>
              <a:t>Click here to access a simple printable </a:t>
            </a:r>
            <a:r>
              <a:rPr lang="de-DE" altLang="en-US" sz="1600" dirty="0">
                <a:hlinkClick r:id="rId15" tooltip="Clcik here to access a simple RED TAG Template on the TEOA SharePoint"/>
              </a:rPr>
              <a:t>RED TAG Template</a:t>
            </a:r>
            <a:endParaRPr lang="en-GB" sz="16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9D89057-430E-4F79-B10A-A49E506DA27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15711" y="5816922"/>
            <a:ext cx="468725" cy="46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7269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>
            <a:extLst>
              <a:ext uri="{FF2B5EF4-FFF2-40B4-BE49-F238E27FC236}">
                <a16:creationId xmlns:a16="http://schemas.microsoft.com/office/drawing/2014/main" id="{C7F094F5-C06C-4E98-B809-65B13D8685E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391" y="5966776"/>
            <a:ext cx="468675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74663" indent="-185738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771525" indent="-18256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62038" indent="-176213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52550" indent="-17621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8097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669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241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813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Designate and mark the locations of tools, materials,  etc.</a:t>
            </a:r>
          </a:p>
        </p:txBody>
      </p:sp>
      <p:pic>
        <p:nvPicPr>
          <p:cNvPr id="16" name="Picture 40">
            <a:extLst>
              <a:ext uri="{FF2B5EF4-FFF2-40B4-BE49-F238E27FC236}">
                <a16:creationId xmlns:a16="http://schemas.microsoft.com/office/drawing/2014/main" id="{FC650BEF-3AD7-4EB0-B6F0-8CA834CF1E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6091" y="1159637"/>
            <a:ext cx="1701758" cy="22761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D6C0999D-FA7E-4A96-8309-3AC6318CAA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869" y="214864"/>
            <a:ext cx="11160000" cy="590706"/>
          </a:xfrm>
        </p:spPr>
        <p:txBody>
          <a:bodyPr/>
          <a:lstStyle/>
          <a:p>
            <a:r>
              <a:rPr lang="en-GB" dirty="0"/>
              <a:t>5S Best Practice Examples</a:t>
            </a:r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70B32F2-BDD7-451D-8472-31422B503928}"/>
              </a:ext>
            </a:extLst>
          </p:cNvPr>
          <p:cNvSpPr txBox="1">
            <a:spLocks/>
          </p:cNvSpPr>
          <p:nvPr/>
        </p:nvSpPr>
        <p:spPr>
          <a:xfrm>
            <a:off x="629130" y="805570"/>
            <a:ext cx="2443853" cy="43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>
                <a:cs typeface="Arial"/>
              </a:rPr>
              <a:t>2- SET IN ORD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813681E-CCA1-4536-91DF-FB367EA88B01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5921" y="1169990"/>
            <a:ext cx="2095269" cy="15714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5AC60D6-044E-41D5-95A6-E429BA1F65BD}"/>
              </a:ext>
            </a:extLst>
          </p:cNvPr>
          <p:cNvSpPr txBox="1"/>
          <p:nvPr/>
        </p:nvSpPr>
        <p:spPr>
          <a:xfrm>
            <a:off x="2947715" y="783502"/>
            <a:ext cx="7815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i="1" dirty="0"/>
              <a:t>“A place for everything and everything in its place”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7F4B81-41DA-4517-8417-924FB51A01E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391" y="3536195"/>
            <a:ext cx="1707105" cy="22761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2A1AB31-F3D1-4C98-AA33-1DFA5A0AA48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1240" y="1169991"/>
            <a:ext cx="1707105" cy="22761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23478FF-0CC8-4DBC-B3BF-319D3735E36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65920" y="2890166"/>
            <a:ext cx="2111365" cy="287984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1ED9338-ECF2-423C-AC24-F4C4AC2FC93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74860" y="1152834"/>
            <a:ext cx="3658017" cy="227614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248D98C-B03C-4E5A-8F76-CB26AA6DB76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1239" y="3546549"/>
            <a:ext cx="1707105" cy="227614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2C29FDB-4728-4BFD-A93C-D380C90A3154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638" y="3493872"/>
            <a:ext cx="1707105" cy="227614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32894F7-50E0-4CEB-8EC9-562B22479051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7464" y="3493872"/>
            <a:ext cx="1707105" cy="2276140"/>
          </a:xfrm>
          <a:prstGeom prst="rect">
            <a:avLst/>
          </a:prstGeom>
        </p:spPr>
      </p:pic>
      <p:pic>
        <p:nvPicPr>
          <p:cNvPr id="21" name="Picture 20">
            <a:hlinkClick r:id="rId12" action="ppaction://hlinksldjump"/>
            <a:extLst>
              <a:ext uri="{FF2B5EF4-FFF2-40B4-BE49-F238E27FC236}">
                <a16:creationId xmlns:a16="http://schemas.microsoft.com/office/drawing/2014/main" id="{27E3516C-3A40-4816-BB7E-840C29BE22B9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4334" y="6329276"/>
            <a:ext cx="696600" cy="414021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DA456ED8-B008-4F56-96E2-216F0E9D3541}"/>
              </a:ext>
            </a:extLst>
          </p:cNvPr>
          <p:cNvGrpSpPr/>
          <p:nvPr/>
        </p:nvGrpSpPr>
        <p:grpSpPr>
          <a:xfrm>
            <a:off x="38941" y="6193279"/>
            <a:ext cx="1289135" cy="664721"/>
            <a:chOff x="8407400" y="5845092"/>
            <a:chExt cx="1289135" cy="672559"/>
          </a:xfrm>
        </p:grpSpPr>
        <p:pic>
          <p:nvPicPr>
            <p:cNvPr id="23" name="Graphic 22" descr="List">
              <a:hlinkClick r:id="rId14" action="ppaction://hlinksldjump"/>
              <a:extLst>
                <a:ext uri="{FF2B5EF4-FFF2-40B4-BE49-F238E27FC236}">
                  <a16:creationId xmlns:a16="http://schemas.microsoft.com/office/drawing/2014/main" id="{0A76CA3F-C73A-436E-B917-E7709EBAA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0E30C82-5B86-40E8-9137-4A46182F1470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 dirty="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96896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hlinkClick r:id="rId4" action="ppaction://hlinksldjump"/>
            <a:extLst>
              <a:ext uri="{FF2B5EF4-FFF2-40B4-BE49-F238E27FC236}">
                <a16:creationId xmlns:a16="http://schemas.microsoft.com/office/drawing/2014/main" id="{A1BD09D1-FF78-467A-89D6-5DE15AFA42F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7573" y="6326998"/>
            <a:ext cx="696600" cy="414021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E69324A-381D-453B-95A1-105D5CD33CC0}"/>
              </a:ext>
            </a:extLst>
          </p:cNvPr>
          <p:cNvGrpSpPr/>
          <p:nvPr/>
        </p:nvGrpSpPr>
        <p:grpSpPr>
          <a:xfrm>
            <a:off x="25523" y="6205579"/>
            <a:ext cx="1289135" cy="664721"/>
            <a:chOff x="8407400" y="5845092"/>
            <a:chExt cx="1289135" cy="672559"/>
          </a:xfrm>
        </p:grpSpPr>
        <p:pic>
          <p:nvPicPr>
            <p:cNvPr id="14" name="Graphic 13" descr="List">
              <a:hlinkClick r:id="rId6" action="ppaction://hlinksldjump"/>
              <a:extLst>
                <a:ext uri="{FF2B5EF4-FFF2-40B4-BE49-F238E27FC236}">
                  <a16:creationId xmlns:a16="http://schemas.microsoft.com/office/drawing/2014/main" id="{D90A99D2-9D2F-4A01-A3F4-D8129C5AA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7ECA274-FFAE-4DB2-8D50-CCFA9ECB8471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 dirty="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68A81EAB-5D99-49AC-B556-84CF6F8FA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869" y="214864"/>
            <a:ext cx="11160000" cy="590706"/>
          </a:xfrm>
        </p:spPr>
        <p:txBody>
          <a:bodyPr/>
          <a:lstStyle/>
          <a:p>
            <a:r>
              <a:rPr lang="en-GB" dirty="0"/>
              <a:t>5S Best Practice Examples</a:t>
            </a:r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570F27CD-9611-4F75-BFF4-63A3057DE094}"/>
              </a:ext>
            </a:extLst>
          </p:cNvPr>
          <p:cNvSpPr txBox="1">
            <a:spLocks/>
          </p:cNvSpPr>
          <p:nvPr/>
        </p:nvSpPr>
        <p:spPr>
          <a:xfrm>
            <a:off x="629130" y="805570"/>
            <a:ext cx="2443853" cy="43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>
                <a:cs typeface="Arial"/>
              </a:rPr>
              <a:t>3- SHIN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A71BAEA-ED2F-462E-8FD9-CEA40F73AD1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2387770" y="1184561"/>
            <a:ext cx="2139310" cy="44888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EDE0818-F703-4BC0-86EA-418497AFFC8A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749" y="1184561"/>
            <a:ext cx="3366659" cy="44888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DC5239-0037-459B-9936-79C69499D421}"/>
              </a:ext>
            </a:extLst>
          </p:cNvPr>
          <p:cNvSpPr txBox="1"/>
          <p:nvPr/>
        </p:nvSpPr>
        <p:spPr>
          <a:xfrm>
            <a:off x="1799416" y="785879"/>
            <a:ext cx="10244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xamples of cleaning stations which allow employees easy access to equipment and materials.</a:t>
            </a:r>
          </a:p>
        </p:txBody>
      </p:sp>
      <p:sp>
        <p:nvSpPr>
          <p:cNvPr id="11" name="Rectangle 29">
            <a:extLst>
              <a:ext uri="{FF2B5EF4-FFF2-40B4-BE49-F238E27FC236}">
                <a16:creationId xmlns:a16="http://schemas.microsoft.com/office/drawing/2014/main" id="{F86DA3A6-7CFE-4A7D-B9C3-881054FEE52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307933" y="5920735"/>
            <a:ext cx="2586064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74663" indent="-185738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771525" indent="-18256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62038" indent="-176213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52550" indent="-17621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8097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669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241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813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Cleaning Station from Industrial Relay Waidhofen Austria.</a:t>
            </a:r>
          </a:p>
        </p:txBody>
      </p:sp>
      <p:sp>
        <p:nvSpPr>
          <p:cNvPr id="20" name="Rectangle 29">
            <a:extLst>
              <a:ext uri="{FF2B5EF4-FFF2-40B4-BE49-F238E27FC236}">
                <a16:creationId xmlns:a16="http://schemas.microsoft.com/office/drawing/2014/main" id="{F0B4E7B4-98B7-4659-8F36-4ACA9FD9DA44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746930" y="5896111"/>
            <a:ext cx="2586064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74663" indent="-185738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771525" indent="-18256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62038" indent="-176213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52550" indent="-17621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8097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669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241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813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Cleaning Station from Energy Witham UK.</a:t>
            </a:r>
          </a:p>
        </p:txBody>
      </p:sp>
    </p:spTree>
    <p:extLst>
      <p:ext uri="{BB962C8B-B14F-4D97-AF65-F5344CB8AC3E}">
        <p14:creationId xmlns:p14="http://schemas.microsoft.com/office/powerpoint/2010/main" val="1883427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hlinkClick r:id="rId6" action="ppaction://hlinksldjump"/>
            <a:extLst>
              <a:ext uri="{FF2B5EF4-FFF2-40B4-BE49-F238E27FC236}">
                <a16:creationId xmlns:a16="http://schemas.microsoft.com/office/drawing/2014/main" id="{A1BD09D1-FF78-467A-89D6-5DE15AFA42F1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4334" y="6329276"/>
            <a:ext cx="696600" cy="414021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E69324A-381D-453B-95A1-105D5CD33CC0}"/>
              </a:ext>
            </a:extLst>
          </p:cNvPr>
          <p:cNvGrpSpPr/>
          <p:nvPr/>
        </p:nvGrpSpPr>
        <p:grpSpPr>
          <a:xfrm>
            <a:off x="38941" y="6193279"/>
            <a:ext cx="1289135" cy="664721"/>
            <a:chOff x="8407400" y="5845092"/>
            <a:chExt cx="1289135" cy="672559"/>
          </a:xfrm>
        </p:grpSpPr>
        <p:pic>
          <p:nvPicPr>
            <p:cNvPr id="14" name="Graphic 13" descr="List">
              <a:hlinkClick r:id="rId8" action="ppaction://hlinksldjump"/>
              <a:extLst>
                <a:ext uri="{FF2B5EF4-FFF2-40B4-BE49-F238E27FC236}">
                  <a16:creationId xmlns:a16="http://schemas.microsoft.com/office/drawing/2014/main" id="{D90A99D2-9D2F-4A01-A3F4-D8129C5AA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7ECA274-FFAE-4DB2-8D50-CCFA9ECB8471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 dirty="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8" name="Picture 6">
            <a:extLst>
              <a:ext uri="{FF2B5EF4-FFF2-40B4-BE49-F238E27FC236}">
                <a16:creationId xmlns:a16="http://schemas.microsoft.com/office/drawing/2014/main" id="{F2A79FBF-435B-4078-AE78-0D4279A37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831" y="1055125"/>
            <a:ext cx="2162175" cy="307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29">
            <a:extLst>
              <a:ext uri="{FF2B5EF4-FFF2-40B4-BE49-F238E27FC236}">
                <a16:creationId xmlns:a16="http://schemas.microsoft.com/office/drawing/2014/main" id="{A37F533A-B98C-4269-B0FE-3097FAD9E5B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93856" y="4188790"/>
            <a:ext cx="14236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74663" indent="-185738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771525" indent="-18256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62038" indent="-176213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52550" indent="-17621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8097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669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241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813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Floor marking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57C8BA-8CC2-4101-8554-423BF1CCEEF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382455" y="1055124"/>
            <a:ext cx="5030082" cy="3045557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16" name="Picture 12">
            <a:extLst>
              <a:ext uri="{FF2B5EF4-FFF2-40B4-BE49-F238E27FC236}">
                <a16:creationId xmlns:a16="http://schemas.microsoft.com/office/drawing/2014/main" id="{953D3EC3-5D8E-4283-9418-B4548FBAC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888" y="4474410"/>
            <a:ext cx="2162175" cy="162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29">
            <a:extLst>
              <a:ext uri="{FF2B5EF4-FFF2-40B4-BE49-F238E27FC236}">
                <a16:creationId xmlns:a16="http://schemas.microsoft.com/office/drawing/2014/main" id="{C2DFB1F1-A72D-41E4-BC5E-5B54CC8B631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000189" y="4170730"/>
            <a:ext cx="412417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74663" indent="-185738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771525" indent="-18256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62038" indent="-176213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52550" indent="-17621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8097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669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241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813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Standard for </a:t>
            </a: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  <a:hlinkClick r:id="rId14" tooltip="View Slide 14 for more details on Floor Markings"/>
              </a:rPr>
              <a:t>visual management </a:t>
            </a: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for Floor Markings</a:t>
            </a:r>
          </a:p>
        </p:txBody>
      </p:sp>
      <p:sp>
        <p:nvSpPr>
          <p:cNvPr id="18" name="Rectangle 29">
            <a:extLst>
              <a:ext uri="{FF2B5EF4-FFF2-40B4-BE49-F238E27FC236}">
                <a16:creationId xmlns:a16="http://schemas.microsoft.com/office/drawing/2014/main" id="{5287F708-479A-437E-9CB6-EC717012124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529019" y="6174492"/>
            <a:ext cx="273308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74663" indent="-185738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771525" indent="-18256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62038" indent="-176213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52550" indent="-17621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8097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669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241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813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Process and Production Status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90B5312E-01D1-474B-95F6-815D166090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34794" y="4475468"/>
            <a:ext cx="2494381" cy="1650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725393AB-B6AF-4EC6-816E-8D962433B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366" y="33996"/>
            <a:ext cx="11160000" cy="590706"/>
          </a:xfrm>
        </p:spPr>
        <p:txBody>
          <a:bodyPr/>
          <a:lstStyle/>
          <a:p>
            <a:r>
              <a:rPr lang="en-GB" dirty="0"/>
              <a:t>5S Best Practice Examples</a:t>
            </a:r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985A9EC1-2E0D-4155-ADDD-7EBCD618852A}"/>
              </a:ext>
            </a:extLst>
          </p:cNvPr>
          <p:cNvSpPr txBox="1">
            <a:spLocks/>
          </p:cNvSpPr>
          <p:nvPr/>
        </p:nvSpPr>
        <p:spPr>
          <a:xfrm>
            <a:off x="457334" y="732424"/>
            <a:ext cx="6161414" cy="43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>
                <a:cs typeface="Arial"/>
              </a:rPr>
              <a:t>4- STANDARDIZE &amp; VISUAL MANAGEME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08CD28-3D7E-4175-9B9C-26A0FD87FC1A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5986" y="1055124"/>
            <a:ext cx="4475528" cy="3045557"/>
          </a:xfrm>
          <a:prstGeom prst="rect">
            <a:avLst/>
          </a:prstGeom>
        </p:spPr>
      </p:pic>
      <p:sp>
        <p:nvSpPr>
          <p:cNvPr id="22" name="Rectangle 29">
            <a:extLst>
              <a:ext uri="{FF2B5EF4-FFF2-40B4-BE49-F238E27FC236}">
                <a16:creationId xmlns:a16="http://schemas.microsoft.com/office/drawing/2014/main" id="{9EC1D9E3-D268-4331-94CB-EAFCF92F19D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545483" y="4211108"/>
            <a:ext cx="315266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74663" indent="-185738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771525" indent="-18256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062038" indent="-176213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352550" indent="-176213"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8097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669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7241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181350" indent="-176213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Shop floor Automotive San Salvo Ital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A31D5D5-1B2B-45E3-84EC-891F0F94A27F}"/>
              </a:ext>
            </a:extLst>
          </p:cNvPr>
          <p:cNvSpPr/>
          <p:nvPr/>
        </p:nvSpPr>
        <p:spPr>
          <a:xfrm>
            <a:off x="7692043" y="5744501"/>
            <a:ext cx="323642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en-US" sz="1600" dirty="0"/>
              <a:t>Click here to access a </a:t>
            </a:r>
            <a:r>
              <a:rPr lang="de-DE" altLang="en-US" sz="1600" dirty="0">
                <a:hlinkClick r:id="rId14" tooltip="Click here to access visual guidelines materials in the TEOA SharePoint"/>
              </a:rPr>
              <a:t>TEOA 124 Visual Guidelines</a:t>
            </a:r>
            <a:r>
              <a:rPr lang="de-DE" altLang="en-US" sz="1600" dirty="0"/>
              <a:t> materials</a:t>
            </a:r>
            <a:endParaRPr lang="en-GB" sz="160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5DC725F1-F129-4F19-BAE6-C8E86CB3121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256576" y="5754661"/>
            <a:ext cx="468725" cy="46872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F0AF0C4-E9F7-4B92-811E-9BD700460C85}"/>
              </a:ext>
            </a:extLst>
          </p:cNvPr>
          <p:cNvCxnSpPr/>
          <p:nvPr/>
        </p:nvCxnSpPr>
        <p:spPr>
          <a:xfrm>
            <a:off x="38941" y="4426552"/>
            <a:ext cx="1203668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4A4BB055-EC55-400B-A2DA-FEB0BF6037D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159623" y="4495500"/>
            <a:ext cx="1685154" cy="1262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420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8">
            <a:extLst>
              <a:ext uri="{FF2B5EF4-FFF2-40B4-BE49-F238E27FC236}">
                <a16:creationId xmlns:a16="http://schemas.microsoft.com/office/drawing/2014/main" id="{C959C8F3-3DA9-4674-9F78-5C27706DE8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8775" y="3286801"/>
            <a:ext cx="1368425" cy="982663"/>
          </a:xfrm>
          <a:prstGeom prst="rect">
            <a:avLst/>
          </a:prstGeom>
          <a:noFill/>
          <a:ln w="25400">
            <a:solidFill>
              <a:srgbClr val="96969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1" name="Object 9">
            <a:extLst>
              <a:ext uri="{FF2B5EF4-FFF2-40B4-BE49-F238E27FC236}">
                <a16:creationId xmlns:a16="http://schemas.microsoft.com/office/drawing/2014/main" id="{A8E5726C-5E3F-48A8-A45C-A0220FB4A2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62558"/>
              </p:ext>
            </p:extLst>
          </p:nvPr>
        </p:nvGraphicFramePr>
        <p:xfrm>
          <a:off x="10460362" y="2291439"/>
          <a:ext cx="1350963" cy="919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gramm" r:id="rId4" imgW="6696075" imgH="3429000" progId="Excel.Chart.8">
                  <p:embed/>
                </p:oleObj>
              </mc:Choice>
              <mc:Fallback>
                <p:oleObj name="Diagramm" r:id="rId4" imgW="6696075" imgH="3429000" progId="Excel.Chart.8">
                  <p:embed/>
                  <p:pic>
                    <p:nvPicPr>
                      <p:cNvPr id="11" name="Object 9">
                        <a:extLst>
                          <a:ext uri="{FF2B5EF4-FFF2-40B4-BE49-F238E27FC236}">
                            <a16:creationId xmlns:a16="http://schemas.microsoft.com/office/drawing/2014/main" id="{A8E5726C-5E3F-48A8-A45C-A0220FB4A2D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9893" t="16377" r="22043" b="3780"/>
                      <a:stretch>
                        <a:fillRect/>
                      </a:stretch>
                    </p:blipFill>
                    <p:spPr bwMode="auto">
                      <a:xfrm>
                        <a:off x="10460362" y="2291439"/>
                        <a:ext cx="1350963" cy="919162"/>
                      </a:xfrm>
                      <a:prstGeom prst="rect">
                        <a:avLst/>
                      </a:prstGeom>
                      <a:noFill/>
                      <a:ln w="25400">
                        <a:solidFill>
                          <a:srgbClr val="969696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Box 12">
            <a:extLst>
              <a:ext uri="{FF2B5EF4-FFF2-40B4-BE49-F238E27FC236}">
                <a16:creationId xmlns:a16="http://schemas.microsoft.com/office/drawing/2014/main" id="{39C62CB5-C5E2-46B4-9743-7E56A1A220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11377" y="4478259"/>
            <a:ext cx="5397387" cy="1169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 baseline="-25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2400" baseline="-25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2400" baseline="-25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2400" baseline="-25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2400" baseline="-25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85750" indent="-2857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en-US" sz="1400" baseline="0" dirty="0"/>
              <a:t>Weekly </a:t>
            </a:r>
            <a:r>
              <a:rPr lang="de-DE" altLang="en-US" sz="1400" baseline="0" dirty="0" err="1"/>
              <a:t>audit</a:t>
            </a:r>
            <a:r>
              <a:rPr lang="de-DE" altLang="en-US" sz="1400" baseline="0" dirty="0"/>
              <a:t> </a:t>
            </a:r>
            <a:r>
              <a:rPr lang="de-DE" altLang="en-US" sz="1400" baseline="0" dirty="0" err="1"/>
              <a:t>by</a:t>
            </a:r>
            <a:r>
              <a:rPr lang="de-DE" altLang="en-US" sz="1400" baseline="0" dirty="0"/>
              <a:t> 5S </a:t>
            </a:r>
            <a:r>
              <a:rPr lang="de-DE" altLang="en-US" sz="1400" baseline="0" dirty="0" err="1"/>
              <a:t>subzone</a:t>
            </a:r>
            <a:r>
              <a:rPr lang="de-DE" altLang="en-US" sz="1400" baseline="0" dirty="0"/>
              <a:t> Leaders</a:t>
            </a:r>
          </a:p>
          <a:p>
            <a:pPr marL="285750" indent="-2857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de-DE" altLang="en-US" sz="1400" baseline="0" dirty="0"/>
          </a:p>
          <a:p>
            <a:pPr marL="285750" indent="-2857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en-US" sz="1400" baseline="0" dirty="0">
                <a:hlinkClick r:id="rId6"/>
              </a:rPr>
              <a:t>Radar Chart and Trendchart </a:t>
            </a:r>
            <a:r>
              <a:rPr lang="de-DE" altLang="en-US" sz="1400" baseline="0" dirty="0" err="1"/>
              <a:t>updated</a:t>
            </a:r>
            <a:r>
              <a:rPr lang="de-DE" altLang="en-US" sz="1400" baseline="0" dirty="0"/>
              <a:t> (hand-</a:t>
            </a:r>
            <a:r>
              <a:rPr lang="de-DE" altLang="en-US" sz="1400" baseline="0" dirty="0" err="1"/>
              <a:t>written</a:t>
            </a:r>
            <a:r>
              <a:rPr lang="de-DE" altLang="en-US" sz="1400" baseline="0" dirty="0"/>
              <a:t>).</a:t>
            </a:r>
          </a:p>
          <a:p>
            <a:pPr marL="285750" indent="-2857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de-DE" altLang="en-US" sz="1400" baseline="0" dirty="0"/>
          </a:p>
          <a:p>
            <a:pPr marL="285750" indent="-2857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en-US" sz="1400" baseline="0" dirty="0" err="1"/>
              <a:t>Each</a:t>
            </a:r>
            <a:r>
              <a:rPr lang="de-DE" altLang="en-US" sz="1400" baseline="0" dirty="0"/>
              <a:t> Zone </a:t>
            </a:r>
            <a:r>
              <a:rPr lang="de-DE" altLang="en-US" sz="1400" baseline="0" dirty="0" err="1"/>
              <a:t>has</a:t>
            </a:r>
            <a:r>
              <a:rPr lang="de-DE" altLang="en-US" sz="1400" baseline="0" dirty="0"/>
              <a:t> a 5S score-board </a:t>
            </a:r>
            <a:r>
              <a:rPr lang="de-DE" altLang="en-US" sz="1400" baseline="0" dirty="0" err="1"/>
              <a:t>to</a:t>
            </a:r>
            <a:r>
              <a:rPr lang="de-DE" altLang="en-US" sz="1400" baseline="0" dirty="0"/>
              <a:t> </a:t>
            </a:r>
            <a:r>
              <a:rPr lang="de-DE" altLang="en-US" sz="1400" baseline="0" dirty="0" err="1"/>
              <a:t>display</a:t>
            </a:r>
            <a:r>
              <a:rPr lang="de-DE" altLang="en-US" sz="1400" baseline="0" dirty="0"/>
              <a:t> 5S </a:t>
            </a:r>
            <a:r>
              <a:rPr lang="de-DE" altLang="en-US" sz="1400" baseline="0" dirty="0" err="1"/>
              <a:t>status</a:t>
            </a:r>
          </a:p>
        </p:txBody>
      </p:sp>
      <p:pic>
        <p:nvPicPr>
          <p:cNvPr id="17" name="Picture 13" descr="Sub Zone">
            <a:extLst>
              <a:ext uri="{FF2B5EF4-FFF2-40B4-BE49-F238E27FC236}">
                <a16:creationId xmlns:a16="http://schemas.microsoft.com/office/drawing/2014/main" id="{03FEDB4E-8D04-4B0E-8547-EE68EA68D9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0252" y="1507047"/>
            <a:ext cx="3625285" cy="27181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Line 15">
            <a:extLst>
              <a:ext uri="{FF2B5EF4-FFF2-40B4-BE49-F238E27FC236}">
                <a16:creationId xmlns:a16="http://schemas.microsoft.com/office/drawing/2014/main" id="{C0395700-8461-419E-8EBC-4DA8E801006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179276" y="1165901"/>
            <a:ext cx="1203299" cy="881336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aseline="-25000">
              <a:solidFill>
                <a:srgbClr val="0073AE"/>
              </a:solidFill>
            </a:endParaRPr>
          </a:p>
        </p:txBody>
      </p:sp>
      <p:sp>
        <p:nvSpPr>
          <p:cNvPr id="19" name="Line 16">
            <a:extLst>
              <a:ext uri="{FF2B5EF4-FFF2-40B4-BE49-F238E27FC236}">
                <a16:creationId xmlns:a16="http://schemas.microsoft.com/office/drawing/2014/main" id="{8D15CF9F-D27E-4FBB-A92F-28EAFA20E37F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2087" y="3650404"/>
            <a:ext cx="1368425" cy="630172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aseline="-25000">
              <a:solidFill>
                <a:srgbClr val="0073A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129391F-2C13-4E0B-8E41-E11701C5C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869" y="92653"/>
            <a:ext cx="11160000" cy="590706"/>
          </a:xfrm>
        </p:spPr>
        <p:txBody>
          <a:bodyPr/>
          <a:lstStyle/>
          <a:p>
            <a:r>
              <a:rPr lang="en-GB" dirty="0"/>
              <a:t>5S Best Practice Examples</a:t>
            </a:r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65794F09-2874-4CA8-98BA-B4F1CE3A6975}"/>
              </a:ext>
            </a:extLst>
          </p:cNvPr>
          <p:cNvSpPr txBox="1">
            <a:spLocks/>
          </p:cNvSpPr>
          <p:nvPr/>
        </p:nvSpPr>
        <p:spPr>
          <a:xfrm>
            <a:off x="749404" y="702518"/>
            <a:ext cx="2443853" cy="43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>
                <a:cs typeface="Arial"/>
              </a:rPr>
              <a:t>5- SUSTAI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04B97F-2009-43C0-885C-EC5F0947ED52}"/>
              </a:ext>
            </a:extLst>
          </p:cNvPr>
          <p:cNvGrpSpPr/>
          <p:nvPr/>
        </p:nvGrpSpPr>
        <p:grpSpPr>
          <a:xfrm>
            <a:off x="1740113" y="1507047"/>
            <a:ext cx="2237644" cy="3977235"/>
            <a:chOff x="835339" y="1319812"/>
            <a:chExt cx="2237644" cy="3977235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A8329252-9E20-4256-B7AA-62AA9A5503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5339" y="1319812"/>
              <a:ext cx="2237644" cy="397723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8A356DB-58C7-4096-9A99-92F7F49E540D}"/>
                </a:ext>
              </a:extLst>
            </p:cNvPr>
            <p:cNvSpPr/>
            <p:nvPr/>
          </p:nvSpPr>
          <p:spPr>
            <a:xfrm>
              <a:off x="1225550" y="1631950"/>
              <a:ext cx="250825" cy="201876"/>
            </a:xfrm>
            <a:prstGeom prst="rect">
              <a:avLst/>
            </a:prstGeom>
            <a:gradFill flip="none" rotWithShape="1">
              <a:gsLst>
                <a:gs pos="0">
                  <a:srgbClr val="B7B7B7"/>
                </a:gs>
                <a:gs pos="74000">
                  <a:srgbClr val="A3A3A3"/>
                </a:gs>
                <a:gs pos="0">
                  <a:srgbClr val="B7B7B7"/>
                </a:gs>
                <a:gs pos="19425">
                  <a:srgbClr val="B7B7B7"/>
                </a:gs>
                <a:gs pos="37000">
                  <a:srgbClr val="B7B7B7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70B0C77F-AE0D-4162-8ED9-0BC0E2BBF0D8}"/>
              </a:ext>
            </a:extLst>
          </p:cNvPr>
          <p:cNvSpPr txBox="1"/>
          <p:nvPr/>
        </p:nvSpPr>
        <p:spPr>
          <a:xfrm>
            <a:off x="323683" y="2021061"/>
            <a:ext cx="12243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Award presented to the best zon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DC26429-410F-4D42-AACE-A79A9A811975}"/>
              </a:ext>
            </a:extLst>
          </p:cNvPr>
          <p:cNvSpPr txBox="1"/>
          <p:nvPr/>
        </p:nvSpPr>
        <p:spPr>
          <a:xfrm>
            <a:off x="323683" y="2947736"/>
            <a:ext cx="122437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5102 Form used for rating the zon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A0C1DC3-3C2D-4FB4-93D0-46659FC93ACF}"/>
              </a:ext>
            </a:extLst>
          </p:cNvPr>
          <p:cNvSpPr txBox="1"/>
          <p:nvPr/>
        </p:nvSpPr>
        <p:spPr>
          <a:xfrm>
            <a:off x="345974" y="4254626"/>
            <a:ext cx="122437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List of actions identified during 5S Audi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71FF01-E6C7-4BA2-9504-AF33382CC7FB}"/>
              </a:ext>
            </a:extLst>
          </p:cNvPr>
          <p:cNvSpPr txBox="1"/>
          <p:nvPr/>
        </p:nvSpPr>
        <p:spPr>
          <a:xfrm>
            <a:off x="2246749" y="5792313"/>
            <a:ext cx="152554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Suggestion box for Improvement ideas / concerns etc.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E386D7A-622E-40C0-95F9-35F795C98FC6}"/>
              </a:ext>
            </a:extLst>
          </p:cNvPr>
          <p:cNvSpPr txBox="1"/>
          <p:nvPr/>
        </p:nvSpPr>
        <p:spPr>
          <a:xfrm>
            <a:off x="4090488" y="4000710"/>
            <a:ext cx="122437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Zones and leaders inform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BAD0200-78A9-4ADC-97EA-A425C8AAFC51}"/>
              </a:ext>
            </a:extLst>
          </p:cNvPr>
          <p:cNvSpPr txBox="1"/>
          <p:nvPr/>
        </p:nvSpPr>
        <p:spPr>
          <a:xfrm>
            <a:off x="4255363" y="2837909"/>
            <a:ext cx="12243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Tracking of performanc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81B5D6B-C68F-4FCF-BF1C-038814D66002}"/>
              </a:ext>
            </a:extLst>
          </p:cNvPr>
          <p:cNvSpPr txBox="1"/>
          <p:nvPr/>
        </p:nvSpPr>
        <p:spPr>
          <a:xfrm>
            <a:off x="4280498" y="1675108"/>
            <a:ext cx="89612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Zone area identified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F9BA894-EF21-4D21-807C-68B387ECA651}"/>
              </a:ext>
            </a:extLst>
          </p:cNvPr>
          <p:cNvCxnSpPr>
            <a:cxnSpLocks/>
          </p:cNvCxnSpPr>
          <p:nvPr/>
        </p:nvCxnSpPr>
        <p:spPr>
          <a:xfrm>
            <a:off x="5769621" y="805570"/>
            <a:ext cx="0" cy="5570954"/>
          </a:xfrm>
          <a:prstGeom prst="line">
            <a:avLst/>
          </a:prstGeom>
          <a:ln w="28575"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6A45E88-B79E-4080-A21D-4CC67EAB0ADE}"/>
              </a:ext>
            </a:extLst>
          </p:cNvPr>
          <p:cNvCxnSpPr>
            <a:stCxn id="5" idx="3"/>
          </p:cNvCxnSpPr>
          <p:nvPr/>
        </p:nvCxnSpPr>
        <p:spPr>
          <a:xfrm>
            <a:off x="1548054" y="2228810"/>
            <a:ext cx="515415" cy="6262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6084A966-A7B0-431D-955D-7407566D49B9}"/>
              </a:ext>
            </a:extLst>
          </p:cNvPr>
          <p:cNvCxnSpPr/>
          <p:nvPr/>
        </p:nvCxnSpPr>
        <p:spPr>
          <a:xfrm>
            <a:off x="1455916" y="3121198"/>
            <a:ext cx="515415" cy="6262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153F402-CA29-4E79-94CA-72365E949FF9}"/>
              </a:ext>
            </a:extLst>
          </p:cNvPr>
          <p:cNvCxnSpPr>
            <a:cxnSpLocks/>
          </p:cNvCxnSpPr>
          <p:nvPr/>
        </p:nvCxnSpPr>
        <p:spPr>
          <a:xfrm flipV="1">
            <a:off x="1426040" y="4254626"/>
            <a:ext cx="782529" cy="22363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22E62A5-BF9F-4CD0-8FEC-9F715C66E45F}"/>
              </a:ext>
            </a:extLst>
          </p:cNvPr>
          <p:cNvCxnSpPr>
            <a:cxnSpLocks/>
          </p:cNvCxnSpPr>
          <p:nvPr/>
        </p:nvCxnSpPr>
        <p:spPr>
          <a:xfrm flipH="1">
            <a:off x="3772300" y="3121198"/>
            <a:ext cx="410914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D2F52349-013D-45E4-8C50-911EBBC0F55C}"/>
              </a:ext>
            </a:extLst>
          </p:cNvPr>
          <p:cNvCxnSpPr>
            <a:cxnSpLocks/>
          </p:cNvCxnSpPr>
          <p:nvPr/>
        </p:nvCxnSpPr>
        <p:spPr>
          <a:xfrm flipH="1">
            <a:off x="3977757" y="1882857"/>
            <a:ext cx="410914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08F6180-AF17-496E-8862-B3BB20D8D8CB}"/>
              </a:ext>
            </a:extLst>
          </p:cNvPr>
          <p:cNvCxnSpPr>
            <a:cxnSpLocks/>
          </p:cNvCxnSpPr>
          <p:nvPr/>
        </p:nvCxnSpPr>
        <p:spPr>
          <a:xfrm flipH="1">
            <a:off x="3723379" y="4222592"/>
            <a:ext cx="410914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4BFE340B-51AA-40EC-9A26-75B538C593C4}"/>
              </a:ext>
            </a:extLst>
          </p:cNvPr>
          <p:cNvCxnSpPr>
            <a:cxnSpLocks/>
          </p:cNvCxnSpPr>
          <p:nvPr/>
        </p:nvCxnSpPr>
        <p:spPr>
          <a:xfrm flipV="1">
            <a:off x="2858934" y="5253726"/>
            <a:ext cx="0" cy="46111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8">
            <a:extLst>
              <a:ext uri="{FF2B5EF4-FFF2-40B4-BE49-F238E27FC236}">
                <a16:creationId xmlns:a16="http://schemas.microsoft.com/office/drawing/2014/main" id="{9351EF49-13D8-4B36-900F-3A357CCE7F62}"/>
              </a:ext>
            </a:extLst>
          </p:cNvPr>
          <p:cNvSpPr txBox="1">
            <a:spLocks/>
          </p:cNvSpPr>
          <p:nvPr/>
        </p:nvSpPr>
        <p:spPr>
          <a:xfrm>
            <a:off x="1342650" y="1092981"/>
            <a:ext cx="3701213" cy="43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>
                <a:cs typeface="Arial"/>
              </a:rPr>
              <a:t>Example of a 5S Zone Board</a:t>
            </a:r>
          </a:p>
        </p:txBody>
      </p:sp>
      <p:sp>
        <p:nvSpPr>
          <p:cNvPr id="40" name="Content Placeholder 8">
            <a:extLst>
              <a:ext uri="{FF2B5EF4-FFF2-40B4-BE49-F238E27FC236}">
                <a16:creationId xmlns:a16="http://schemas.microsoft.com/office/drawing/2014/main" id="{C83F6C47-FA75-45DA-BA3F-002743CD4B50}"/>
              </a:ext>
            </a:extLst>
          </p:cNvPr>
          <p:cNvSpPr txBox="1">
            <a:spLocks/>
          </p:cNvSpPr>
          <p:nvPr/>
        </p:nvSpPr>
        <p:spPr>
          <a:xfrm>
            <a:off x="6042281" y="1075847"/>
            <a:ext cx="4247395" cy="43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>
                <a:cs typeface="Arial"/>
              </a:rPr>
              <a:t>Example of a 5S Sub- Zone Boar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8F0C764-5A4B-493F-B8CA-F842C4458BB5}"/>
              </a:ext>
            </a:extLst>
          </p:cNvPr>
          <p:cNvSpPr/>
          <p:nvPr/>
        </p:nvSpPr>
        <p:spPr>
          <a:xfrm rot="16200000">
            <a:off x="11403981" y="2565682"/>
            <a:ext cx="10631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en-US" sz="1200" dirty="0"/>
              <a:t>Radar Chart </a:t>
            </a:r>
            <a:endParaRPr lang="en-GB" sz="1200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841BED8-193C-4EA6-BAC3-000CF717F078}"/>
              </a:ext>
            </a:extLst>
          </p:cNvPr>
          <p:cNvSpPr/>
          <p:nvPr/>
        </p:nvSpPr>
        <p:spPr>
          <a:xfrm rot="16200000">
            <a:off x="11414850" y="3650633"/>
            <a:ext cx="104137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en-US" sz="1200" dirty="0"/>
              <a:t>Trend Chart </a:t>
            </a:r>
            <a:endParaRPr lang="en-GB" sz="1200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DA2A762-915C-46BC-9F07-F0A92C61373A}"/>
              </a:ext>
            </a:extLst>
          </p:cNvPr>
          <p:cNvSpPr/>
          <p:nvPr/>
        </p:nvSpPr>
        <p:spPr>
          <a:xfrm rot="16200000">
            <a:off x="11447743" y="1579620"/>
            <a:ext cx="9268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en-US" sz="1200" dirty="0"/>
              <a:t>5102 Form</a:t>
            </a:r>
            <a:endParaRPr lang="en-GB" sz="1200" dirty="0"/>
          </a:p>
        </p:txBody>
      </p:sp>
      <p:pic>
        <p:nvPicPr>
          <p:cNvPr id="38" name="Picture 37">
            <a:hlinkClick r:id="rId9" action="ppaction://hlinksldjump"/>
            <a:extLst>
              <a:ext uri="{FF2B5EF4-FFF2-40B4-BE49-F238E27FC236}">
                <a16:creationId xmlns:a16="http://schemas.microsoft.com/office/drawing/2014/main" id="{D5741098-A78F-4047-BB86-F15B18249ACA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4334" y="6329276"/>
            <a:ext cx="696600" cy="414021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C3853A6D-B519-44E4-A01F-4B826877B179}"/>
              </a:ext>
            </a:extLst>
          </p:cNvPr>
          <p:cNvGrpSpPr/>
          <p:nvPr/>
        </p:nvGrpSpPr>
        <p:grpSpPr>
          <a:xfrm>
            <a:off x="38941" y="6193279"/>
            <a:ext cx="1289135" cy="664721"/>
            <a:chOff x="8407400" y="5845092"/>
            <a:chExt cx="1289135" cy="672559"/>
          </a:xfrm>
        </p:grpSpPr>
        <p:pic>
          <p:nvPicPr>
            <p:cNvPr id="45" name="Graphic 44" descr="List">
              <a:hlinkClick r:id="rId11" action="ppaction://hlinksldjump"/>
              <a:extLst>
                <a:ext uri="{FF2B5EF4-FFF2-40B4-BE49-F238E27FC236}">
                  <a16:creationId xmlns:a16="http://schemas.microsoft.com/office/drawing/2014/main" id="{777B947E-C0B1-4582-84CC-0BA2EBDC5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DF9C5D7-2EC2-4FB2-940F-2DF3838E2A80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 dirty="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93372397-BE18-4BC8-AD5D-9BA20CA3A855}"/>
              </a:ext>
            </a:extLst>
          </p:cNvPr>
          <p:cNvSpPr/>
          <p:nvPr/>
        </p:nvSpPr>
        <p:spPr>
          <a:xfrm>
            <a:off x="7154451" y="5782153"/>
            <a:ext cx="386441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en-US" sz="1600" dirty="0"/>
              <a:t>Click here to access a </a:t>
            </a:r>
            <a:r>
              <a:rPr lang="de-DE" altLang="en-US" sz="1600" dirty="0">
                <a:hlinkClick r:id="rId6" tooltip="Click here to access a template for a Radar Chart"/>
              </a:rPr>
              <a:t>Template for a Radar Chart and Trendchart </a:t>
            </a:r>
            <a:endParaRPr lang="en-GB" sz="1600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F80DC526-9854-4FE9-8F9D-F8CCC420A45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718984" y="5792313"/>
            <a:ext cx="468725" cy="4687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D25C79C-96BD-4798-8205-A8D8DAB1053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438342" y="1167516"/>
            <a:ext cx="1368425" cy="1041364"/>
          </a:xfrm>
          <a:prstGeom prst="rect">
            <a:avLst/>
          </a:prstGeom>
          <a:solidFill>
            <a:schemeClr val="accent2"/>
          </a:solidFill>
          <a:ln>
            <a:solidFill>
              <a:schemeClr val="tx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0584044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E1CB3E-D56F-42D5-9542-A8AE12E54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9" y="178390"/>
            <a:ext cx="11160000" cy="590706"/>
          </a:xfrm>
        </p:spPr>
        <p:txBody>
          <a:bodyPr/>
          <a:lstStyle/>
          <a:p>
            <a:r>
              <a:rPr lang="en-GB" dirty="0">
                <a:ea typeface="+mj-lt"/>
                <a:cs typeface="+mj-lt"/>
              </a:rPr>
              <a:t>5S Best Practice Digital Examples</a:t>
            </a:r>
            <a:endParaRPr lang="en-US" dirty="0"/>
          </a:p>
        </p:txBody>
      </p:sp>
      <p:pic>
        <p:nvPicPr>
          <p:cNvPr id="3" name="Imagen 3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C7CF3F02-7D66-4DD6-A00B-42F2A263B4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6654" y="1091280"/>
            <a:ext cx="7140169" cy="296220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018F4D6-14DF-4C75-87FE-782CCB3B5F9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031" y="1188244"/>
            <a:ext cx="3571874" cy="2678906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A9E480-A680-48C9-B234-ADD75D0ED504}"/>
              </a:ext>
            </a:extLst>
          </p:cNvPr>
          <p:cNvCxnSpPr>
            <a:cxnSpLocks/>
          </p:cNvCxnSpPr>
          <p:nvPr/>
        </p:nvCxnSpPr>
        <p:spPr>
          <a:xfrm>
            <a:off x="4197996" y="916456"/>
            <a:ext cx="0" cy="5570954"/>
          </a:xfrm>
          <a:prstGeom prst="line">
            <a:avLst/>
          </a:prstGeom>
          <a:ln w="28575"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973D30B6-61C5-46AB-BFA9-4EBE780C4633}"/>
              </a:ext>
            </a:extLst>
          </p:cNvPr>
          <p:cNvSpPr txBox="1"/>
          <p:nvPr/>
        </p:nvSpPr>
        <p:spPr>
          <a:xfrm>
            <a:off x="6014404" y="4053486"/>
            <a:ext cx="48315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Digital Application for conducting 5S Audi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BBBFDFD-E6D8-42AF-A491-9D328D7A818D}"/>
              </a:ext>
            </a:extLst>
          </p:cNvPr>
          <p:cNvSpPr txBox="1"/>
          <p:nvPr/>
        </p:nvSpPr>
        <p:spPr>
          <a:xfrm>
            <a:off x="175032" y="4053486"/>
            <a:ext cx="35307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xample of a Digital Application for displaying 5S Audit results on an interactive touch screen</a:t>
            </a:r>
          </a:p>
        </p:txBody>
      </p:sp>
      <p:pic>
        <p:nvPicPr>
          <p:cNvPr id="19" name="Picture 18">
            <a:hlinkClick r:id="rId4" action="ppaction://hlinksldjump"/>
            <a:extLst>
              <a:ext uri="{FF2B5EF4-FFF2-40B4-BE49-F238E27FC236}">
                <a16:creationId xmlns:a16="http://schemas.microsoft.com/office/drawing/2014/main" id="{D7E91207-0BF3-4E36-91B3-38A67FA87D9F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4334" y="6329276"/>
            <a:ext cx="696600" cy="414021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B3928AD-881C-4303-A913-8FAE734606A8}"/>
              </a:ext>
            </a:extLst>
          </p:cNvPr>
          <p:cNvGrpSpPr/>
          <p:nvPr/>
        </p:nvGrpSpPr>
        <p:grpSpPr>
          <a:xfrm>
            <a:off x="38941" y="6193279"/>
            <a:ext cx="1289135" cy="664721"/>
            <a:chOff x="8407400" y="5845092"/>
            <a:chExt cx="1289135" cy="672559"/>
          </a:xfrm>
        </p:grpSpPr>
        <p:pic>
          <p:nvPicPr>
            <p:cNvPr id="21" name="Graphic 20" descr="List">
              <a:hlinkClick r:id="rId6" action="ppaction://hlinksldjump"/>
              <a:extLst>
                <a:ext uri="{FF2B5EF4-FFF2-40B4-BE49-F238E27FC236}">
                  <a16:creationId xmlns:a16="http://schemas.microsoft.com/office/drawing/2014/main" id="{15651BD0-58E7-4E35-BF85-F6C60E44CC7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14C78B-CFB3-44B8-9896-9222C13329EF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 dirty="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89771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E1CB3E-D56F-42D5-9542-A8AE12E54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9" y="178390"/>
            <a:ext cx="11160000" cy="590706"/>
          </a:xfrm>
        </p:spPr>
        <p:txBody>
          <a:bodyPr/>
          <a:lstStyle/>
          <a:p>
            <a:r>
              <a:rPr lang="en-GB" dirty="0">
                <a:ea typeface="+mj-lt"/>
                <a:cs typeface="+mj-lt"/>
              </a:rPr>
              <a:t>5S “The Numbers Game”</a:t>
            </a:r>
            <a:endParaRPr lang="en-US" dirty="0"/>
          </a:p>
        </p:txBody>
      </p:sp>
      <p:pic>
        <p:nvPicPr>
          <p:cNvPr id="19" name="Picture 18">
            <a:hlinkClick r:id="rId2" action="ppaction://hlinksldjump"/>
            <a:extLst>
              <a:ext uri="{FF2B5EF4-FFF2-40B4-BE49-F238E27FC236}">
                <a16:creationId xmlns:a16="http://schemas.microsoft.com/office/drawing/2014/main" id="{D7E91207-0BF3-4E36-91B3-38A67FA87D9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4334" y="6329276"/>
            <a:ext cx="696600" cy="414021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B3928AD-881C-4303-A913-8FAE734606A8}"/>
              </a:ext>
            </a:extLst>
          </p:cNvPr>
          <p:cNvGrpSpPr/>
          <p:nvPr/>
        </p:nvGrpSpPr>
        <p:grpSpPr>
          <a:xfrm>
            <a:off x="38941" y="6193279"/>
            <a:ext cx="1289135" cy="664721"/>
            <a:chOff x="8407400" y="5845092"/>
            <a:chExt cx="1289135" cy="672559"/>
          </a:xfrm>
        </p:grpSpPr>
        <p:pic>
          <p:nvPicPr>
            <p:cNvPr id="21" name="Graphic 20" descr="List">
              <a:hlinkClick r:id="rId4" action="ppaction://hlinksldjump"/>
              <a:extLst>
                <a:ext uri="{FF2B5EF4-FFF2-40B4-BE49-F238E27FC236}">
                  <a16:creationId xmlns:a16="http://schemas.microsoft.com/office/drawing/2014/main" id="{15651BD0-58E7-4E35-BF85-F6C60E44CC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14C78B-CFB3-44B8-9896-9222C13329EF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 dirty="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51AD9540-8CE2-4C48-BF0C-D4A119748A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28076" y="664485"/>
            <a:ext cx="9211998" cy="518174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4792016-B5D8-4125-9A59-0DD4D0DB3F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28076" y="5846234"/>
            <a:ext cx="634039" cy="63403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188E2EA-1AC0-49C5-B17B-8C73B9BA3E79}"/>
              </a:ext>
            </a:extLst>
          </p:cNvPr>
          <p:cNvSpPr txBox="1"/>
          <p:nvPr/>
        </p:nvSpPr>
        <p:spPr>
          <a:xfrm>
            <a:off x="1950290" y="5870113"/>
            <a:ext cx="84000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For additional learning experience or to help teach the message of 5S the “Numbers Game” then </a:t>
            </a:r>
            <a:r>
              <a:rPr lang="en-GB" dirty="0">
                <a:hlinkClick r:id="rId9"/>
              </a:rPr>
              <a:t>click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14662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04D4D032-F28B-49BE-9399-D91FA3CA2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8076" y="964277"/>
            <a:ext cx="8009206" cy="46105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AC61D7C-A265-4BB0-981F-B8C71BD121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736" y="201391"/>
            <a:ext cx="9829800" cy="457200"/>
          </a:xfrm>
        </p:spPr>
        <p:txBody>
          <a:bodyPr/>
          <a:lstStyle/>
          <a:p>
            <a:r>
              <a:rPr lang="en-GB" dirty="0"/>
              <a:t>5 Access to Shared Best Practices</a:t>
            </a: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430E3E94-8A99-4089-8DA5-1B8FCB4573DB}"/>
              </a:ext>
            </a:extLst>
          </p:cNvPr>
          <p:cNvSpPr/>
          <p:nvPr/>
        </p:nvSpPr>
        <p:spPr>
          <a:xfrm>
            <a:off x="5487636" y="5719510"/>
            <a:ext cx="2094807" cy="669620"/>
          </a:xfrm>
          <a:prstGeom prst="wedgeRectCallout">
            <a:avLst>
              <a:gd name="adj1" fmla="val 24406"/>
              <a:gd name="adj2" fmla="val -89492"/>
            </a:avLst>
          </a:prstGeom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hlinkClick r:id="rId3"/>
              </a:rPr>
              <a:t>Click here to Search 5S SDPs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hlinkClick r:id="rId4" action="ppaction://hlinksldjump"/>
            <a:extLst>
              <a:ext uri="{FF2B5EF4-FFF2-40B4-BE49-F238E27FC236}">
                <a16:creationId xmlns:a16="http://schemas.microsoft.com/office/drawing/2014/main" id="{996467AF-F2E5-4F0B-9450-041C9EF37F9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4334" y="6329276"/>
            <a:ext cx="696600" cy="414021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A67BAB02-9C5A-4986-9409-0F143A79A574}"/>
              </a:ext>
            </a:extLst>
          </p:cNvPr>
          <p:cNvGrpSpPr/>
          <p:nvPr/>
        </p:nvGrpSpPr>
        <p:grpSpPr>
          <a:xfrm>
            <a:off x="38941" y="6193279"/>
            <a:ext cx="1289135" cy="664721"/>
            <a:chOff x="8407400" y="5845092"/>
            <a:chExt cx="1289135" cy="672559"/>
          </a:xfrm>
        </p:grpSpPr>
        <p:pic>
          <p:nvPicPr>
            <p:cNvPr id="16" name="Graphic 15" descr="List">
              <a:hlinkClick r:id="rId6" action="ppaction://hlinksldjump"/>
              <a:extLst>
                <a:ext uri="{FF2B5EF4-FFF2-40B4-BE49-F238E27FC236}">
                  <a16:creationId xmlns:a16="http://schemas.microsoft.com/office/drawing/2014/main" id="{9002EF41-7428-46B9-8675-BE172F51E3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390696B-2467-4A1C-8768-F156413488D2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 dirty="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30235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0B8338-15AA-4399-AF76-59E48222E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599" y="162158"/>
            <a:ext cx="9334415" cy="457200"/>
          </a:xfrm>
        </p:spPr>
        <p:txBody>
          <a:bodyPr/>
          <a:lstStyle/>
          <a:p>
            <a:r>
              <a:rPr lang="en-GB"/>
              <a:t>Using this Playbook – What do the Icons Mean?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044CB2AB-45E6-46B2-9610-197C326EE609}"/>
              </a:ext>
            </a:extLst>
          </p:cNvPr>
          <p:cNvGrpSpPr/>
          <p:nvPr/>
        </p:nvGrpSpPr>
        <p:grpSpPr>
          <a:xfrm>
            <a:off x="55201" y="6175920"/>
            <a:ext cx="1289135" cy="664721"/>
            <a:chOff x="8407400" y="5845092"/>
            <a:chExt cx="1289135" cy="672559"/>
          </a:xfrm>
        </p:grpSpPr>
        <p:pic>
          <p:nvPicPr>
            <p:cNvPr id="119" name="Graphic 118" descr="List">
              <a:hlinkClick r:id="rId3" action="ppaction://hlinksldjump"/>
              <a:extLst>
                <a:ext uri="{FF2B5EF4-FFF2-40B4-BE49-F238E27FC236}">
                  <a16:creationId xmlns:a16="http://schemas.microsoft.com/office/drawing/2014/main" id="{363096E2-6558-4CD8-AFDA-29C8D2297F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CB66D116-7BDC-41DA-B5FC-5B6BB93DC4A9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sp>
        <p:nvSpPr>
          <p:cNvPr id="124" name="TextBox 123">
            <a:extLst>
              <a:ext uri="{FF2B5EF4-FFF2-40B4-BE49-F238E27FC236}">
                <a16:creationId xmlns:a16="http://schemas.microsoft.com/office/drawing/2014/main" id="{F2049703-E345-446E-A609-D9F462C3F8AE}"/>
              </a:ext>
            </a:extLst>
          </p:cNvPr>
          <p:cNvSpPr txBox="1"/>
          <p:nvPr/>
        </p:nvSpPr>
        <p:spPr>
          <a:xfrm>
            <a:off x="1666107" y="5301981"/>
            <a:ext cx="28903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lick on the agenda icon to return to the agenda for the current phase 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61C29C5-B17F-4168-94E1-F80E473B264D}"/>
              </a:ext>
            </a:extLst>
          </p:cNvPr>
          <p:cNvSpPr txBox="1"/>
          <p:nvPr/>
        </p:nvSpPr>
        <p:spPr>
          <a:xfrm>
            <a:off x="8478982" y="5440480"/>
            <a:ext cx="34303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lick on the House Icon to return to the TEOA House page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C192F083-1D84-4524-A8C1-40B8EAF9BC47}"/>
              </a:ext>
            </a:extLst>
          </p:cNvPr>
          <p:cNvCxnSpPr>
            <a:cxnSpLocks/>
            <a:stCxn id="124" idx="1"/>
            <a:endCxn id="119" idx="0"/>
          </p:cNvCxnSpPr>
          <p:nvPr/>
        </p:nvCxnSpPr>
        <p:spPr>
          <a:xfrm flipH="1">
            <a:off x="639989" y="5763646"/>
            <a:ext cx="1026118" cy="412274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D4058E68-B8DE-4901-8C6D-F9F9D548A40F}"/>
              </a:ext>
            </a:extLst>
          </p:cNvPr>
          <p:cNvCxnSpPr>
            <a:cxnSpLocks/>
          </p:cNvCxnSpPr>
          <p:nvPr/>
        </p:nvCxnSpPr>
        <p:spPr>
          <a:xfrm>
            <a:off x="10629207" y="6129251"/>
            <a:ext cx="597778" cy="214836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5EE2B3AB-81A9-4247-BD8E-CF4CFF6C4D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2169" y="2465816"/>
            <a:ext cx="634039" cy="63403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A7A1CCD-FBD6-4477-B96E-B4BFFD154834}"/>
              </a:ext>
            </a:extLst>
          </p:cNvPr>
          <p:cNvSpPr txBox="1"/>
          <p:nvPr/>
        </p:nvSpPr>
        <p:spPr>
          <a:xfrm>
            <a:off x="6898507" y="2182670"/>
            <a:ext cx="38289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Where this Icon is visible refers to a point of information on the subject, linking to additional Playbooks or Training materials for example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09C19D6-C683-4920-82FA-4E20FBBFBBC2}"/>
              </a:ext>
            </a:extLst>
          </p:cNvPr>
          <p:cNvCxnSpPr>
            <a:cxnSpLocks/>
          </p:cNvCxnSpPr>
          <p:nvPr/>
        </p:nvCxnSpPr>
        <p:spPr>
          <a:xfrm flipH="1">
            <a:off x="6566208" y="2782835"/>
            <a:ext cx="332299" cy="1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49">
            <a:extLst>
              <a:ext uri="{FF2B5EF4-FFF2-40B4-BE49-F238E27FC236}">
                <a16:creationId xmlns:a16="http://schemas.microsoft.com/office/drawing/2014/main" id="{665E174D-57B9-471A-9FB4-DBD4FC32FB43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8656" y="6297339"/>
            <a:ext cx="696600" cy="414021"/>
          </a:xfrm>
          <a:prstGeom prst="rect">
            <a:avLst/>
          </a:prstGeom>
        </p:spPr>
      </p:pic>
      <p:pic>
        <p:nvPicPr>
          <p:cNvPr id="26" name="Graphic 25" descr="Warning">
            <a:extLst>
              <a:ext uri="{FF2B5EF4-FFF2-40B4-BE49-F238E27FC236}">
                <a16:creationId xmlns:a16="http://schemas.microsoft.com/office/drawing/2014/main" id="{0B3CD08D-A066-4FF4-AF53-8967A35367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2374" y="3301807"/>
            <a:ext cx="631265" cy="63126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7B76138D-9D88-4EC1-AF47-2D190B2DD590}"/>
              </a:ext>
            </a:extLst>
          </p:cNvPr>
          <p:cNvSpPr txBox="1"/>
          <p:nvPr/>
        </p:nvSpPr>
        <p:spPr>
          <a:xfrm>
            <a:off x="1962048" y="3294273"/>
            <a:ext cx="3409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Where this Icon is visible refers to a special Note on the subject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8922269-A5C9-4A70-8CE4-81EEFE07A93C}"/>
              </a:ext>
            </a:extLst>
          </p:cNvPr>
          <p:cNvCxnSpPr>
            <a:cxnSpLocks/>
          </p:cNvCxnSpPr>
          <p:nvPr/>
        </p:nvCxnSpPr>
        <p:spPr>
          <a:xfrm flipH="1">
            <a:off x="1573639" y="3617439"/>
            <a:ext cx="388409" cy="1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aphic 34" descr="Speech">
            <a:extLst>
              <a:ext uri="{FF2B5EF4-FFF2-40B4-BE49-F238E27FC236}">
                <a16:creationId xmlns:a16="http://schemas.microsoft.com/office/drawing/2014/main" id="{CD055068-16CD-4A06-928D-2B28CB3D257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2374" y="1770231"/>
            <a:ext cx="641150" cy="64115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EB51E87-CC0C-4E81-8151-260D2054E8F2}"/>
              </a:ext>
            </a:extLst>
          </p:cNvPr>
          <p:cNvSpPr txBox="1"/>
          <p:nvPr/>
        </p:nvSpPr>
        <p:spPr>
          <a:xfrm>
            <a:off x="1949434" y="1767747"/>
            <a:ext cx="3409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Where this Icon is visible refers to a Tip / help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45346EA8-A1B6-4EBB-B433-501825BB4013}"/>
              </a:ext>
            </a:extLst>
          </p:cNvPr>
          <p:cNvCxnSpPr>
            <a:cxnSpLocks/>
          </p:cNvCxnSpPr>
          <p:nvPr/>
        </p:nvCxnSpPr>
        <p:spPr>
          <a:xfrm flipH="1">
            <a:off x="1561025" y="2090913"/>
            <a:ext cx="388409" cy="1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45890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65B36CB8-C693-4475-A34D-771DE328C49C}"/>
              </a:ext>
            </a:extLst>
          </p:cNvPr>
          <p:cNvSpPr/>
          <p:nvPr/>
        </p:nvSpPr>
        <p:spPr>
          <a:xfrm rot="16200000">
            <a:off x="-34164" y="1894448"/>
            <a:ext cx="2922535" cy="338554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Cycles of Improvemen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BC95C35-BAA1-4914-90A3-613D7F4AFC70}"/>
              </a:ext>
            </a:extLst>
          </p:cNvPr>
          <p:cNvSpPr/>
          <p:nvPr/>
        </p:nvSpPr>
        <p:spPr>
          <a:xfrm>
            <a:off x="1687439" y="602458"/>
            <a:ext cx="7535040" cy="5645453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ADDCEED-361C-4BB5-B265-C4B46F2CC9A4}"/>
              </a:ext>
            </a:extLst>
          </p:cNvPr>
          <p:cNvSpPr/>
          <p:nvPr/>
        </p:nvSpPr>
        <p:spPr>
          <a:xfrm>
            <a:off x="1687048" y="3564394"/>
            <a:ext cx="3248839" cy="265018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4B8ECF-EF1C-4680-A60F-1524118184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753" y="70950"/>
            <a:ext cx="9829800" cy="457200"/>
          </a:xfrm>
        </p:spPr>
        <p:txBody>
          <a:bodyPr/>
          <a:lstStyle/>
          <a:p>
            <a:r>
              <a:rPr lang="en-GB" dirty="0"/>
              <a:t>5S - Improvement Over ti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A8070D-4187-41D8-BFCA-33E70B1ABB2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9473181" y="704973"/>
            <a:ext cx="2420611" cy="2453587"/>
          </a:xfrm>
        </p:spPr>
        <p:txBody>
          <a:bodyPr/>
          <a:lstStyle/>
          <a:p>
            <a:r>
              <a:rPr lang="en-GB" dirty="0"/>
              <a:t>The cycles surrounding 5S continue to mature as the site evolves over time.</a:t>
            </a:r>
          </a:p>
          <a:p>
            <a:endParaRPr lang="en-GB" dirty="0"/>
          </a:p>
          <a:p>
            <a:r>
              <a:rPr lang="en-GB" dirty="0"/>
              <a:t>See </a:t>
            </a:r>
            <a:r>
              <a:rPr lang="en-GB" dirty="0">
                <a:hlinkClick r:id="rId2" action="ppaction://hlinksldjump"/>
              </a:rPr>
              <a:t>Diagnostic Questions </a:t>
            </a:r>
            <a:r>
              <a:rPr lang="en-GB" dirty="0"/>
              <a:t>on next page to help understand the sites level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5291C2E5-5A14-429A-9564-5D749A6BF02F}"/>
              </a:ext>
            </a:extLst>
          </p:cNvPr>
          <p:cNvGraphicFramePr/>
          <p:nvPr/>
        </p:nvGraphicFramePr>
        <p:xfrm>
          <a:off x="2790075" y="3564394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C184D361-1A86-4522-A35E-F8C1D5CFD11F}"/>
              </a:ext>
            </a:extLst>
          </p:cNvPr>
          <p:cNvGraphicFramePr/>
          <p:nvPr/>
        </p:nvGraphicFramePr>
        <p:xfrm>
          <a:off x="4423807" y="2524163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2D5388FD-63B9-4E84-98AB-B9054EA5FEAB}"/>
              </a:ext>
            </a:extLst>
          </p:cNvPr>
          <p:cNvGraphicFramePr/>
          <p:nvPr/>
        </p:nvGraphicFramePr>
        <p:xfrm>
          <a:off x="5682077" y="1531380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A2E32288-2558-4DB9-9BF0-2ABEE6BD8FC8}"/>
              </a:ext>
            </a:extLst>
          </p:cNvPr>
          <p:cNvGraphicFramePr/>
          <p:nvPr/>
        </p:nvGraphicFramePr>
        <p:xfrm>
          <a:off x="6985741" y="556703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1739862F-DC12-4AEF-970B-127EE3D65DDE}"/>
              </a:ext>
            </a:extLst>
          </p:cNvPr>
          <p:cNvSpPr/>
          <p:nvPr/>
        </p:nvSpPr>
        <p:spPr>
          <a:xfrm>
            <a:off x="5397142" y="6214578"/>
            <a:ext cx="689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Tim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FD340F-F9C3-40FD-9CBF-F003DA05FF9D}"/>
              </a:ext>
            </a:extLst>
          </p:cNvPr>
          <p:cNvSpPr/>
          <p:nvPr/>
        </p:nvSpPr>
        <p:spPr>
          <a:xfrm rot="16200000">
            <a:off x="215911" y="3269287"/>
            <a:ext cx="14670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Site 5S Path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67AC675-7E97-452A-9DFA-FA76282CBCE3}"/>
              </a:ext>
            </a:extLst>
          </p:cNvPr>
          <p:cNvSpPr/>
          <p:nvPr/>
        </p:nvSpPr>
        <p:spPr>
          <a:xfrm>
            <a:off x="1662185" y="4629942"/>
            <a:ext cx="1710409" cy="161845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93F74F3A-BC7C-4543-BC51-D590DB1765C3}"/>
              </a:ext>
            </a:extLst>
          </p:cNvPr>
          <p:cNvGraphicFramePr/>
          <p:nvPr/>
        </p:nvGraphicFramePr>
        <p:xfrm>
          <a:off x="1225427" y="4629942"/>
          <a:ext cx="2698750" cy="1631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AF2C86E-D0E1-47B9-9877-60E28AC4B4B8}"/>
              </a:ext>
            </a:extLst>
          </p:cNvPr>
          <p:cNvCxnSpPr>
            <a:cxnSpLocks/>
          </p:cNvCxnSpPr>
          <p:nvPr/>
        </p:nvCxnSpPr>
        <p:spPr>
          <a:xfrm>
            <a:off x="1636932" y="6259994"/>
            <a:ext cx="7585547" cy="1898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99E535DD-4EB9-44F1-9819-5EFFF53EAC5C}"/>
              </a:ext>
            </a:extLst>
          </p:cNvPr>
          <p:cNvSpPr/>
          <p:nvPr/>
        </p:nvSpPr>
        <p:spPr>
          <a:xfrm rot="16200000">
            <a:off x="613028" y="5272843"/>
            <a:ext cx="1628154" cy="33855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>
                <a:solidFill>
                  <a:schemeClr val="tx2"/>
                </a:solidFill>
              </a:rPr>
              <a:t>Beginning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948B0E1-5338-45D5-9AC8-2F1C3CE34C32}"/>
              </a:ext>
            </a:extLst>
          </p:cNvPr>
          <p:cNvSpPr/>
          <p:nvPr/>
        </p:nvSpPr>
        <p:spPr>
          <a:xfrm rot="16200000">
            <a:off x="896229" y="3929789"/>
            <a:ext cx="1061751" cy="338554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Stabilised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7A11616-9FB4-4A3B-A107-49699DDD226A}"/>
              </a:ext>
            </a:extLst>
          </p:cNvPr>
          <p:cNvCxnSpPr>
            <a:cxnSpLocks/>
          </p:cNvCxnSpPr>
          <p:nvPr/>
        </p:nvCxnSpPr>
        <p:spPr>
          <a:xfrm flipV="1">
            <a:off x="1662185" y="528151"/>
            <a:ext cx="0" cy="573374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Warning">
            <a:extLst>
              <a:ext uri="{FF2B5EF4-FFF2-40B4-BE49-F238E27FC236}">
                <a16:creationId xmlns:a16="http://schemas.microsoft.com/office/drawing/2014/main" id="{E91174B2-D1A7-4A82-AB16-CB9DA37CD87A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247732" y="3271384"/>
            <a:ext cx="631265" cy="63126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9651885-45FD-4AED-A625-83ACF97C8C15}"/>
              </a:ext>
            </a:extLst>
          </p:cNvPr>
          <p:cNvSpPr txBox="1"/>
          <p:nvPr/>
        </p:nvSpPr>
        <p:spPr>
          <a:xfrm>
            <a:off x="9771389" y="3292537"/>
            <a:ext cx="237073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u="sng" dirty="0">
                <a:solidFill>
                  <a:schemeClr val="accent6"/>
                </a:solidFill>
              </a:rPr>
              <a:t>Note </a:t>
            </a:r>
          </a:p>
          <a:p>
            <a:r>
              <a:rPr lang="en-GB" sz="1600" dirty="0">
                <a:solidFill>
                  <a:schemeClr val="accent6"/>
                </a:solidFill>
              </a:rPr>
              <a:t>There that is no formal Assessment for this tool at Star level 3,4 or 5, however the expectation is for the cycles of Improvement to continue as the site matures.</a:t>
            </a:r>
          </a:p>
        </p:txBody>
      </p:sp>
    </p:spTree>
    <p:extLst>
      <p:ext uri="{BB962C8B-B14F-4D97-AF65-F5344CB8AC3E}">
        <p14:creationId xmlns:p14="http://schemas.microsoft.com/office/powerpoint/2010/main" val="27251451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2A1CB96-4BFC-480E-B185-09D4D46B99BD}"/>
              </a:ext>
            </a:extLst>
          </p:cNvPr>
          <p:cNvSpPr/>
          <p:nvPr/>
        </p:nvSpPr>
        <p:spPr>
          <a:xfrm>
            <a:off x="1160794" y="4824353"/>
            <a:ext cx="10829437" cy="166405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The expectation is the cycles of improvements will continue as the site matures.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2744911-CBC6-444D-9119-F6031DB445E1}"/>
              </a:ext>
            </a:extLst>
          </p:cNvPr>
          <p:cNvSpPr/>
          <p:nvPr/>
        </p:nvSpPr>
        <p:spPr>
          <a:xfrm>
            <a:off x="1160794" y="797257"/>
            <a:ext cx="10829437" cy="1927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/>
              <a:t>Has an initial self assessment has been completed regarding 5S on Site?	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/>
              <a:t>Have the site leadership teams have completed 5S training and do they understand the methodology?	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/>
              <a:t>Have all employees completed SF 101 &amp; 102 training (Shop floor) Has this has also been incorporated into new employee orientation process.	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/>
              <a:t>Have site wide zones been established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/>
              <a:t>Are weekly audits conducted by the site manager or designee? Are the results documented? Are they posted in the zone, physically or digitally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/>
              <a:t>Has a RED Tag Area been established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2BC779-6352-46C3-A58F-2727C1CB6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593" y="74240"/>
            <a:ext cx="11475883" cy="590706"/>
          </a:xfrm>
        </p:spPr>
        <p:txBody>
          <a:bodyPr/>
          <a:lstStyle/>
          <a:p>
            <a:r>
              <a:rPr lang="en-GB" dirty="0"/>
              <a:t>Questions to Consider around 5S Deploy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D258F6D-1CC3-4A2D-904A-48D6405DFFE8}"/>
              </a:ext>
            </a:extLst>
          </p:cNvPr>
          <p:cNvSpPr/>
          <p:nvPr/>
        </p:nvSpPr>
        <p:spPr>
          <a:xfrm>
            <a:off x="1160794" y="2793076"/>
            <a:ext cx="10829437" cy="1927855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Has 5S been deployed in all departments throughout the entire site including production, warehousing, office areas and external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Is the Site manager and key leaders conducting routine 5S walks which are included in their leader standard work?</a:t>
            </a:r>
            <a:r>
              <a:rPr lang="en-GB" sz="1400" dirty="0"/>
              <a:t>	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Has a minimum score of 2.0 on the assessment, utilizing the TE Form 5102 for example been achieved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Are actions from audits being collected? Are they being closed out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Are "Colours, floor markings, tool outlines, containers identified and marked to make it clear where things belong AND when they need to be replenished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tx1"/>
                </a:solidFill>
              </a:rPr>
              <a:t>Is the RED Tag area working as defined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D24C27-4C9A-4BAE-859D-761D288D3FBD}"/>
              </a:ext>
            </a:extLst>
          </p:cNvPr>
          <p:cNvSpPr/>
          <p:nvPr/>
        </p:nvSpPr>
        <p:spPr>
          <a:xfrm>
            <a:off x="198466" y="785857"/>
            <a:ext cx="902098" cy="192785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1"/>
          <a:lstStyle/>
          <a:p>
            <a:pPr algn="ctr"/>
            <a:r>
              <a:rPr lang="en-GB" sz="2400" dirty="0"/>
              <a:t>Beginn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0E44A37-76C6-458D-A77F-FB44F6BADC8B}"/>
              </a:ext>
            </a:extLst>
          </p:cNvPr>
          <p:cNvSpPr/>
          <p:nvPr/>
        </p:nvSpPr>
        <p:spPr>
          <a:xfrm>
            <a:off x="198465" y="4821133"/>
            <a:ext cx="902099" cy="166727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1"/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Cycles of Improv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B91BB92-65D2-49EA-9BD6-F5A094761898}"/>
              </a:ext>
            </a:extLst>
          </p:cNvPr>
          <p:cNvSpPr/>
          <p:nvPr/>
        </p:nvSpPr>
        <p:spPr>
          <a:xfrm>
            <a:off x="198466" y="2793076"/>
            <a:ext cx="902098" cy="1927856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1"/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Stabilised</a:t>
            </a:r>
          </a:p>
        </p:txBody>
      </p:sp>
    </p:spTree>
    <p:extLst>
      <p:ext uri="{BB962C8B-B14F-4D97-AF65-F5344CB8AC3E}">
        <p14:creationId xmlns:p14="http://schemas.microsoft.com/office/powerpoint/2010/main" val="31060761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6FE79AAE-7901-4C3F-B570-96EA5B0071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341" y="965585"/>
            <a:ext cx="11623140" cy="55276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0B8338-15AA-4399-AF76-59E48222E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162158"/>
            <a:ext cx="9625434" cy="457200"/>
          </a:xfrm>
        </p:spPr>
        <p:txBody>
          <a:bodyPr/>
          <a:lstStyle/>
          <a:p>
            <a:r>
              <a:rPr lang="en-GB"/>
              <a:t>TEOA – Operations Management Syste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7AE813-AD21-40AE-B653-1B4614DC6FF2}"/>
              </a:ext>
            </a:extLst>
          </p:cNvPr>
          <p:cNvSpPr/>
          <p:nvPr/>
        </p:nvSpPr>
        <p:spPr>
          <a:xfrm>
            <a:off x="7229895" y="6061286"/>
            <a:ext cx="1836521" cy="431987"/>
          </a:xfrm>
          <a:prstGeom prst="rect">
            <a:avLst/>
          </a:prstGeom>
          <a:solidFill>
            <a:schemeClr val="accent6">
              <a:alpha val="20000"/>
            </a:schemeClr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31160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95FA48-BBE1-4738-B070-9A8D28CAD1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5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F01CE35-8942-4D9A-B80E-245A5DE224F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en-US" sz="1400">
                <a:solidFill>
                  <a:schemeClr val="bg1"/>
                </a:solidFill>
              </a:rPr>
              <a:t>A structured approach consisting of 5 steps designed to create workplace organization and process optimization by developing a culture of discipline and order</a:t>
            </a:r>
            <a:r>
              <a:rPr lang="en-US" altLang="en-US" sz="1400" b="1">
                <a:solidFill>
                  <a:schemeClr val="bg1"/>
                </a:solidFill>
              </a:rPr>
              <a:t>.</a:t>
            </a:r>
          </a:p>
          <a:p>
            <a:endParaRPr lang="en-GB" sz="1400" i="1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7F2DBD3-6D23-44A3-AF02-F5BD3BD777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5131384" y="577124"/>
            <a:ext cx="7291317" cy="5533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069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605BFB-9DD7-4EE4-94BB-A42D583978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81110" y="982111"/>
            <a:ext cx="5904953" cy="4715107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finition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at is the Purpose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y Use it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b="1" dirty="0"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Implement 5S</a:t>
            </a:r>
            <a:endParaRPr lang="en-US" sz="2000" b="1" dirty="0"/>
          </a:p>
          <a:p>
            <a:pPr marL="342900" indent="-342900">
              <a:lnSpc>
                <a:spcPct val="200000"/>
              </a:lnSpc>
              <a:buAutoNum type="arabicPeriod"/>
            </a:pPr>
            <a:r>
              <a:rPr lang="en-US" sz="2000" b="1" dirty="0">
                <a:cs typeface="Arial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amples of 5S</a:t>
            </a:r>
            <a:endParaRPr lang="en-US" sz="2000" b="1" dirty="0">
              <a:cs typeface="Arial"/>
              <a:hlinkClick r:id="rId7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342900" indent="-342900">
              <a:lnSpc>
                <a:spcPct val="200000"/>
              </a:lnSpc>
              <a:buAutoNum type="arabicPeriod"/>
            </a:pPr>
            <a:r>
              <a:rPr lang="en-US" sz="2000" b="1" dirty="0">
                <a:cs typeface="Arial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DP repository on 5S</a:t>
            </a:r>
          </a:p>
          <a:p>
            <a:pPr marL="342900" indent="-342900">
              <a:lnSpc>
                <a:spcPct val="200000"/>
              </a:lnSpc>
              <a:buAutoNum type="arabicPeriod"/>
            </a:pPr>
            <a:r>
              <a:rPr lang="en-US" sz="2000" b="1" dirty="0">
                <a:cs typeface="Arial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agnostic Questions</a:t>
            </a:r>
            <a:endParaRPr lang="en-US" sz="2000" b="1" dirty="0"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BC577F-832B-45E1-9A3C-2459BBD9A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5050" y="278794"/>
            <a:ext cx="9239248" cy="457200"/>
          </a:xfrm>
        </p:spPr>
        <p:txBody>
          <a:bodyPr/>
          <a:lstStyle/>
          <a:p>
            <a:r>
              <a:rPr lang="en-GB"/>
              <a:t>5S Overview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AACB72B-7C19-4913-BAA1-B40AB19D6E0D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54501" y="1251634"/>
            <a:ext cx="4267202" cy="4007551"/>
          </a:xfr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algn="ctr"/>
            <a:r>
              <a:rPr lang="en-GB" b="1">
                <a:solidFill>
                  <a:schemeClr val="bg1"/>
                </a:solidFill>
              </a:rPr>
              <a:t>In this Playboo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1"/>
                </a:solidFill>
              </a:rPr>
              <a:t>A </a:t>
            </a:r>
            <a:r>
              <a:rPr lang="en-GB" b="1">
                <a:solidFill>
                  <a:schemeClr val="bg2"/>
                </a:solidFill>
              </a:rPr>
              <a:t>definition </a:t>
            </a:r>
            <a:r>
              <a:rPr lang="en-GB">
                <a:solidFill>
                  <a:schemeClr val="bg1"/>
                </a:solidFill>
              </a:rPr>
              <a:t>of what is 5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1"/>
                </a:solidFill>
              </a:rPr>
              <a:t>What is the </a:t>
            </a:r>
            <a:r>
              <a:rPr lang="en-GB" b="1">
                <a:solidFill>
                  <a:schemeClr val="bg2"/>
                </a:solidFill>
              </a:rPr>
              <a:t>Purpose</a:t>
            </a:r>
            <a:r>
              <a:rPr lang="en-GB">
                <a:solidFill>
                  <a:schemeClr val="bg1"/>
                </a:solidFill>
              </a:rPr>
              <a:t> of 5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bg2"/>
                </a:solidFill>
              </a:rPr>
              <a:t>Why use </a:t>
            </a:r>
            <a:r>
              <a:rPr lang="en-GB">
                <a:solidFill>
                  <a:schemeClr val="bg1"/>
                </a:solidFill>
              </a:rPr>
              <a:t>5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bg1"/>
                </a:solidFill>
              </a:rPr>
              <a:t>How to i</a:t>
            </a:r>
            <a:r>
              <a:rPr lang="en-GB" b="1">
                <a:solidFill>
                  <a:schemeClr val="bg2"/>
                </a:solidFill>
              </a:rPr>
              <a:t>mplement </a:t>
            </a:r>
            <a:r>
              <a:rPr lang="en-GB">
                <a:solidFill>
                  <a:schemeClr val="bg1"/>
                </a:solidFill>
              </a:rPr>
              <a:t>5S with </a:t>
            </a:r>
            <a:r>
              <a:rPr lang="en-GB" b="1">
                <a:solidFill>
                  <a:schemeClr val="bg2"/>
                </a:solidFill>
              </a:rPr>
              <a:t>training materials &amp; best pract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FE4249-E42B-454F-A235-07E41E0F82C6}"/>
              </a:ext>
            </a:extLst>
          </p:cNvPr>
          <p:cNvSpPr/>
          <p:nvPr/>
        </p:nvSpPr>
        <p:spPr>
          <a:xfrm>
            <a:off x="2837352" y="6045290"/>
            <a:ext cx="59683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>
                <a:solidFill>
                  <a:schemeClr val="accent6"/>
                </a:solidFill>
              </a:rPr>
              <a:t>Note: Click on the links above to quickly access the topic</a:t>
            </a:r>
          </a:p>
        </p:txBody>
      </p:sp>
      <p:pic>
        <p:nvPicPr>
          <p:cNvPr id="11" name="Graphic 10" descr="Speech">
            <a:extLst>
              <a:ext uri="{FF2B5EF4-FFF2-40B4-BE49-F238E27FC236}">
                <a16:creationId xmlns:a16="http://schemas.microsoft.com/office/drawing/2014/main" id="{094B9AD3-0661-4D62-B47A-73A24DADC5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138852" y="5880706"/>
            <a:ext cx="698500" cy="698500"/>
          </a:xfrm>
          <a:prstGeom prst="rect">
            <a:avLst/>
          </a:prstGeom>
        </p:spPr>
      </p:pic>
      <p:pic>
        <p:nvPicPr>
          <p:cNvPr id="10" name="Picture 9">
            <a:hlinkClick r:id="rId11" action="ppaction://hlinksldjump"/>
            <a:extLst>
              <a:ext uri="{FF2B5EF4-FFF2-40B4-BE49-F238E27FC236}">
                <a16:creationId xmlns:a16="http://schemas.microsoft.com/office/drawing/2014/main" id="{74FFEDE8-C0B8-43C4-861E-E906F63F7752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7983" y="6372195"/>
            <a:ext cx="696600" cy="41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7817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AB40D-4DA5-4CB6-902E-E5591EA392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934" y="218017"/>
            <a:ext cx="9829800" cy="457200"/>
          </a:xfrm>
        </p:spPr>
        <p:txBody>
          <a:bodyPr/>
          <a:lstStyle/>
          <a:p>
            <a:r>
              <a:rPr lang="en-GB" dirty="0"/>
              <a:t>1. 5S Defin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096BE6-560D-4175-9E22-0E48127222C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91934" y="957054"/>
            <a:ext cx="11160000" cy="498995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altLang="en-US" sz="2400" b="1" dirty="0"/>
              <a:t>A structured approach consisting of 5 steps designed to cause workplace organization and process optimization by developing a culture of discipline and order.</a:t>
            </a:r>
          </a:p>
          <a:p>
            <a:endParaRPr lang="en-US" altLang="nl-BE" sz="2400" b="1" dirty="0">
              <a:solidFill>
                <a:srgbClr val="7F7F7F"/>
              </a:solidFill>
            </a:endParaRPr>
          </a:p>
          <a:p>
            <a:pPr lvl="1"/>
            <a:r>
              <a:rPr lang="en-US" altLang="nl-BE" sz="2400" dirty="0">
                <a:solidFill>
                  <a:srgbClr val="7F7F7F"/>
                </a:solidFill>
              </a:rPr>
              <a:t>“</a:t>
            </a:r>
            <a:r>
              <a:rPr lang="en-US" altLang="nl-BE" sz="2400" b="1" dirty="0">
                <a:solidFill>
                  <a:srgbClr val="7F7F7F"/>
                </a:solidFill>
              </a:rPr>
              <a:t>A place for everything and everything in its place</a:t>
            </a:r>
            <a:r>
              <a:rPr lang="en-US" altLang="nl-BE" sz="2400" dirty="0">
                <a:solidFill>
                  <a:srgbClr val="7F7F7F"/>
                </a:solidFill>
              </a:rPr>
              <a:t>”.</a:t>
            </a:r>
          </a:p>
          <a:p>
            <a:pPr lvl="1"/>
            <a:r>
              <a:rPr lang="en-US" altLang="nl-BE" sz="2400" dirty="0">
                <a:solidFill>
                  <a:srgbClr val="7F7F7F"/>
                </a:solidFill>
              </a:rPr>
              <a:t>It applies to all areas and requires </a:t>
            </a:r>
            <a:r>
              <a:rPr lang="en-US" altLang="nl-BE" sz="2400" b="1" dirty="0">
                <a:solidFill>
                  <a:srgbClr val="7F7F7F"/>
                </a:solidFill>
              </a:rPr>
              <a:t>everyone´s</a:t>
            </a:r>
            <a:r>
              <a:rPr lang="en-US" altLang="nl-BE" sz="2400" dirty="0">
                <a:solidFill>
                  <a:srgbClr val="7F7F7F"/>
                </a:solidFill>
              </a:rPr>
              <a:t> continuous involvement.</a:t>
            </a:r>
          </a:p>
          <a:p>
            <a:pPr lvl="1"/>
            <a:r>
              <a:rPr lang="en-US" altLang="nl-BE" sz="2400" dirty="0">
                <a:solidFill>
                  <a:srgbClr val="7F7F7F"/>
                </a:solidFill>
              </a:rPr>
              <a:t>Its purpose is o</a:t>
            </a:r>
            <a:r>
              <a:rPr lang="en-US" sz="2400" dirty="0">
                <a:solidFill>
                  <a:srgbClr val="7F7F7F"/>
                </a:solidFill>
              </a:rPr>
              <a:t>n </a:t>
            </a:r>
            <a:r>
              <a:rPr lang="en-US" sz="2400" b="1" dirty="0">
                <a:solidFill>
                  <a:srgbClr val="7F7F7F"/>
                </a:solidFill>
              </a:rPr>
              <a:t>usefulness</a:t>
            </a:r>
            <a:r>
              <a:rPr lang="en-US" sz="2400" dirty="0">
                <a:solidFill>
                  <a:srgbClr val="7F7F7F"/>
                </a:solidFill>
              </a:rPr>
              <a:t> and not just on the esthetics.</a:t>
            </a:r>
          </a:p>
          <a:p>
            <a:pPr lvl="1"/>
            <a:r>
              <a:rPr lang="en-US" sz="2400" dirty="0">
                <a:solidFill>
                  <a:srgbClr val="7F7F7F"/>
                </a:solidFill>
              </a:rPr>
              <a:t>“Don´t let the perfect be the enemy of the good”</a:t>
            </a:r>
          </a:p>
          <a:p>
            <a:pPr lvl="1"/>
            <a:r>
              <a:rPr lang="en-US" sz="2400" dirty="0">
                <a:solidFill>
                  <a:srgbClr val="7F7F7F"/>
                </a:solidFill>
              </a:rPr>
              <a:t>Make 5S a “</a:t>
            </a:r>
            <a:r>
              <a:rPr lang="en-US" sz="2400" b="1" dirty="0">
                <a:solidFill>
                  <a:srgbClr val="7F7F7F"/>
                </a:solidFill>
              </a:rPr>
              <a:t>daily activity</a:t>
            </a:r>
            <a:r>
              <a:rPr lang="en-US" sz="2400" dirty="0">
                <a:solidFill>
                  <a:srgbClr val="7F7F7F"/>
                </a:solidFill>
              </a:rPr>
              <a:t>”, instead of a “once in a time cleaning task” for external audits, visits, etc.”</a:t>
            </a:r>
          </a:p>
          <a:p>
            <a:pPr lvl="1"/>
            <a:endParaRPr lang="en-US" altLang="nl-BE" sz="2400" dirty="0">
              <a:solidFill>
                <a:srgbClr val="7F7F7F"/>
              </a:solidFill>
            </a:endParaRPr>
          </a:p>
          <a:p>
            <a:endParaRPr lang="en-US" altLang="nl-BE" sz="2400" dirty="0">
              <a:solidFill>
                <a:srgbClr val="7F7F7F"/>
              </a:solidFill>
              <a:cs typeface="Arial"/>
            </a:endParaRPr>
          </a:p>
          <a:p>
            <a:endParaRPr lang="en-US" sz="2400" b="1" dirty="0">
              <a:solidFill>
                <a:srgbClr val="7F7F7F"/>
              </a:solidFill>
              <a:cs typeface="Arial"/>
            </a:endParaRPr>
          </a:p>
          <a:p>
            <a:endParaRPr lang="en-US" altLang="nl-BE" sz="2400" b="1" dirty="0">
              <a:solidFill>
                <a:srgbClr val="7F7F7F"/>
              </a:solidFill>
              <a:cs typeface="Arial"/>
            </a:endParaRPr>
          </a:p>
        </p:txBody>
      </p:sp>
      <p:pic>
        <p:nvPicPr>
          <p:cNvPr id="4" name="Picture 3">
            <a:hlinkClick r:id="rId2" action="ppaction://hlinksldjump"/>
            <a:extLst>
              <a:ext uri="{FF2B5EF4-FFF2-40B4-BE49-F238E27FC236}">
                <a16:creationId xmlns:a16="http://schemas.microsoft.com/office/drawing/2014/main" id="{D7F4BE0C-3788-49C6-92F8-406A1589B33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3634" y="6314698"/>
            <a:ext cx="696600" cy="41402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07943677-A059-4802-A380-E8B587568E45}"/>
              </a:ext>
            </a:extLst>
          </p:cNvPr>
          <p:cNvGrpSpPr/>
          <p:nvPr/>
        </p:nvGrpSpPr>
        <p:grpSpPr>
          <a:xfrm>
            <a:off x="0" y="6193279"/>
            <a:ext cx="1289135" cy="664721"/>
            <a:chOff x="8407400" y="5845092"/>
            <a:chExt cx="1289135" cy="672559"/>
          </a:xfrm>
        </p:grpSpPr>
        <p:pic>
          <p:nvPicPr>
            <p:cNvPr id="6" name="Graphic 5" descr="List">
              <a:hlinkClick r:id="rId4" action="ppaction://hlinksldjump"/>
              <a:extLst>
                <a:ext uri="{FF2B5EF4-FFF2-40B4-BE49-F238E27FC236}">
                  <a16:creationId xmlns:a16="http://schemas.microsoft.com/office/drawing/2014/main" id="{36DED7BA-97E4-455F-B4A8-7EB94A98D5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ED95558-8854-4DFE-8719-70A1625301FF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663739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95480-774A-40C4-9139-633E1A03E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414" y="141990"/>
            <a:ext cx="9829800" cy="457200"/>
          </a:xfrm>
        </p:spPr>
        <p:txBody>
          <a:bodyPr/>
          <a:lstStyle/>
          <a:p>
            <a:r>
              <a:rPr lang="en-US" dirty="0">
                <a:cs typeface="Arial"/>
              </a:rPr>
              <a:t>2. What is the purpos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ADFCFF-798E-4C10-8F5A-F17775F5EE7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02869" y="1144174"/>
            <a:ext cx="11160000" cy="4989957"/>
          </a:xfrm>
        </p:spPr>
        <p:txBody>
          <a:bodyPr vert="horz" lIns="0" tIns="0" rIns="0" bIns="0" rtlCol="0" anchor="t">
            <a:noAutofit/>
          </a:bodyPr>
          <a:lstStyle/>
          <a:p>
            <a:pPr marL="909638" lvl="1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bg1">
                    <a:lumMod val="50000"/>
                  </a:schemeClr>
                </a:solidFill>
              </a:rPr>
              <a:t>Reduce the risk of accidents and making mistakes.</a:t>
            </a:r>
          </a:p>
          <a:p>
            <a:pPr marL="909638" lvl="1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bg1">
                    <a:lumMod val="50000"/>
                  </a:schemeClr>
                </a:solidFill>
              </a:rPr>
              <a:t>Perform the work faster without wasting time and effort.</a:t>
            </a:r>
          </a:p>
          <a:p>
            <a:pPr marL="909638" lvl="1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bg1">
                    <a:lumMod val="50000"/>
                  </a:schemeClr>
                </a:solidFill>
              </a:rPr>
              <a:t>“Management by exception”</a:t>
            </a:r>
          </a:p>
          <a:p>
            <a:pPr marL="909638" lvl="1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bg1">
                    <a:lumMod val="50000"/>
                  </a:schemeClr>
                </a:solidFill>
              </a:rPr>
              <a:t>Create a sense of pride and ownership. </a:t>
            </a:r>
          </a:p>
          <a:p>
            <a:pPr marL="909638" lvl="1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bg1">
                    <a:lumMod val="50000"/>
                  </a:schemeClr>
                </a:solidFill>
              </a:rPr>
              <a:t>Engage everyone in continuous improvement.</a:t>
            </a:r>
          </a:p>
        </p:txBody>
      </p:sp>
      <p:pic>
        <p:nvPicPr>
          <p:cNvPr id="4" name="Picture 3">
            <a:hlinkClick r:id="rId2" action="ppaction://hlinksldjump"/>
            <a:extLst>
              <a:ext uri="{FF2B5EF4-FFF2-40B4-BE49-F238E27FC236}">
                <a16:creationId xmlns:a16="http://schemas.microsoft.com/office/drawing/2014/main" id="{492903C4-1A60-420D-85CF-159B593F71A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4804" y="6381230"/>
            <a:ext cx="696600" cy="41402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3A9F8DBB-C26A-4A7E-BC0A-C60E643E3B4B}"/>
              </a:ext>
            </a:extLst>
          </p:cNvPr>
          <p:cNvGrpSpPr/>
          <p:nvPr/>
        </p:nvGrpSpPr>
        <p:grpSpPr>
          <a:xfrm>
            <a:off x="19981" y="6182081"/>
            <a:ext cx="1289135" cy="664721"/>
            <a:chOff x="8407400" y="5845092"/>
            <a:chExt cx="1289135" cy="672559"/>
          </a:xfrm>
        </p:grpSpPr>
        <p:pic>
          <p:nvPicPr>
            <p:cNvPr id="6" name="Graphic 5" descr="List">
              <a:hlinkClick r:id="rId4" action="ppaction://hlinksldjump"/>
              <a:extLst>
                <a:ext uri="{FF2B5EF4-FFF2-40B4-BE49-F238E27FC236}">
                  <a16:creationId xmlns:a16="http://schemas.microsoft.com/office/drawing/2014/main" id="{584C6849-2CEE-49DB-A6F7-50EA317657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0301260-9B3A-48CA-AA33-F3D92D9223FB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 dirty="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8256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27E5FE-56CF-45A3-8517-39EA1A265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9" y="156693"/>
            <a:ext cx="9829800" cy="457200"/>
          </a:xfrm>
        </p:spPr>
        <p:txBody>
          <a:bodyPr/>
          <a:lstStyle/>
          <a:p>
            <a:r>
              <a:rPr lang="en-GB" dirty="0"/>
              <a:t>3. Why Use 5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8C0D32-916D-4227-8EA9-24CFBFB10C6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14349" y="885823"/>
            <a:ext cx="11160000" cy="33568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 sz="1800" b="1" dirty="0"/>
              <a:t>Benefits:</a:t>
            </a:r>
            <a:br>
              <a:rPr lang="en-GB" b="1" dirty="0"/>
            </a:br>
            <a:endParaRPr lang="en-GB" b="1" dirty="0">
              <a:cs typeface="Arial"/>
            </a:endParaRPr>
          </a:p>
          <a:p>
            <a:endParaRPr lang="en-GB" b="1" dirty="0">
              <a:cs typeface="Arial"/>
            </a:endParaRPr>
          </a:p>
          <a:p>
            <a:pPr marL="285750" indent="-285750">
              <a:buChar char="•"/>
            </a:pPr>
            <a:endParaRPr lang="en-GB" b="1" dirty="0">
              <a:cs typeface="Arial"/>
            </a:endParaRPr>
          </a:p>
          <a:p>
            <a:endParaRPr lang="en-GB" b="1" dirty="0">
              <a:cs typeface="Arial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284C831-5DCD-4716-AAD4-FD9329072044}"/>
              </a:ext>
            </a:extLst>
          </p:cNvPr>
          <p:cNvGrpSpPr/>
          <p:nvPr/>
        </p:nvGrpSpPr>
        <p:grpSpPr>
          <a:xfrm>
            <a:off x="749524" y="1627674"/>
            <a:ext cx="3421947" cy="3900576"/>
            <a:chOff x="749524" y="1627674"/>
            <a:chExt cx="3421947" cy="3900576"/>
          </a:xfrm>
        </p:grpSpPr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D5E95527-A109-4DFA-8DEE-23FC3530B026}"/>
                </a:ext>
              </a:extLst>
            </p:cNvPr>
            <p:cNvSpPr/>
            <p:nvPr/>
          </p:nvSpPr>
          <p:spPr>
            <a:xfrm>
              <a:off x="767996" y="1627674"/>
              <a:ext cx="3398981" cy="693675"/>
            </a:xfrm>
            <a:prstGeom prst="round2Same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b="1" dirty="0"/>
                <a:t>PEOPLE</a:t>
              </a:r>
              <a:endParaRPr lang="en-US" b="1" dirty="0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42FE6EBB-29CA-4BBD-A695-A2F47000E652}"/>
                </a:ext>
              </a:extLst>
            </p:cNvPr>
            <p:cNvSpPr/>
            <p:nvPr/>
          </p:nvSpPr>
          <p:spPr>
            <a:xfrm>
              <a:off x="749524" y="2750487"/>
              <a:ext cx="3421947" cy="2777763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b="1" dirty="0"/>
                <a:t>Increased safety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b="1" dirty="0"/>
                <a:t>Cleaner work environment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b="1" dirty="0"/>
                <a:t>Increased ownership and sense of pride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b="1" dirty="0"/>
                <a:t>Easier maintenance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E03ADCD-30E2-4D27-9063-37804988C2DD}"/>
              </a:ext>
            </a:extLst>
          </p:cNvPr>
          <p:cNvGrpSpPr/>
          <p:nvPr/>
        </p:nvGrpSpPr>
        <p:grpSpPr>
          <a:xfrm>
            <a:off x="4337851" y="1627672"/>
            <a:ext cx="3398981" cy="3915753"/>
            <a:chOff x="4337851" y="1627672"/>
            <a:chExt cx="3398981" cy="3915753"/>
          </a:xfrm>
        </p:grpSpPr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3D51F0CA-62CF-46E5-89A1-4306C43EF33B}"/>
                </a:ext>
              </a:extLst>
            </p:cNvPr>
            <p:cNvSpPr/>
            <p:nvPr/>
          </p:nvSpPr>
          <p:spPr>
            <a:xfrm>
              <a:off x="4337851" y="1627672"/>
              <a:ext cx="3398981" cy="693675"/>
            </a:xfrm>
            <a:prstGeom prst="round2SameRect">
              <a:avLst/>
            </a:prstGeom>
            <a:solidFill>
              <a:schemeClr val="accent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b="1" dirty="0"/>
                <a:t>QUALITY</a:t>
              </a:r>
              <a:endParaRPr lang="en-US" b="1" dirty="0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54D53649-278E-49D4-A752-96B794B4D5B1}"/>
                </a:ext>
              </a:extLst>
            </p:cNvPr>
            <p:cNvSpPr/>
            <p:nvPr/>
          </p:nvSpPr>
          <p:spPr>
            <a:xfrm>
              <a:off x="4337851" y="2720164"/>
              <a:ext cx="3398981" cy="2823261"/>
            </a:xfrm>
            <a:prstGeom prst="roundRect">
              <a:avLst/>
            </a:prstGeom>
            <a:solidFill>
              <a:schemeClr val="accent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b="1" dirty="0"/>
                <a:t>Greater visibility of mistak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b="1" dirty="0"/>
                <a:t>Easier standardization of work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FA65545-D0FD-4CD0-A0D3-A733BD7DB905}"/>
              </a:ext>
            </a:extLst>
          </p:cNvPr>
          <p:cNvGrpSpPr/>
          <p:nvPr/>
        </p:nvGrpSpPr>
        <p:grpSpPr>
          <a:xfrm>
            <a:off x="7907706" y="1627673"/>
            <a:ext cx="3408218" cy="3958128"/>
            <a:chOff x="7907706" y="1627673"/>
            <a:chExt cx="3408218" cy="3958128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F455E0C6-D567-438C-A7FA-C5BBBE936FED}"/>
                </a:ext>
              </a:extLst>
            </p:cNvPr>
            <p:cNvSpPr/>
            <p:nvPr/>
          </p:nvSpPr>
          <p:spPr>
            <a:xfrm>
              <a:off x="7907706" y="1627673"/>
              <a:ext cx="3398981" cy="693675"/>
            </a:xfrm>
            <a:prstGeom prst="round2Same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b="1" dirty="0"/>
                <a:t>PERFORMANCE</a:t>
              </a:r>
              <a:endParaRPr lang="en-US" b="1" dirty="0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6562F49E-6B8C-40E1-93D7-9E3EF17A40DE}"/>
                </a:ext>
              </a:extLst>
            </p:cNvPr>
            <p:cNvSpPr/>
            <p:nvPr/>
          </p:nvSpPr>
          <p:spPr>
            <a:xfrm>
              <a:off x="7916943" y="2762540"/>
              <a:ext cx="3398981" cy="2823261"/>
            </a:xfrm>
            <a:prstGeom prst="round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b="1" dirty="0"/>
                <a:t>Increased productivit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b="1" dirty="0"/>
                <a:t>Reduced setup tim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b="1" dirty="0"/>
                <a:t>Fewer breakdown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b="1" dirty="0"/>
                <a:t>Less wasted tim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b="1" dirty="0"/>
                <a:t>Sets the foundation for discipline to follow standardized work</a:t>
              </a:r>
            </a:p>
          </p:txBody>
        </p:sp>
      </p:grpSp>
      <p:pic>
        <p:nvPicPr>
          <p:cNvPr id="10" name="Picture 9">
            <a:hlinkClick r:id="rId2" action="ppaction://hlinksldjump"/>
            <a:extLst>
              <a:ext uri="{FF2B5EF4-FFF2-40B4-BE49-F238E27FC236}">
                <a16:creationId xmlns:a16="http://schemas.microsoft.com/office/drawing/2014/main" id="{F1540F44-FE74-401A-9553-C7F71D97308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29894" y="6314698"/>
            <a:ext cx="696600" cy="41402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FF97B2F9-DD1A-4D8F-AB0A-B417079B700D}"/>
              </a:ext>
            </a:extLst>
          </p:cNvPr>
          <p:cNvGrpSpPr/>
          <p:nvPr/>
        </p:nvGrpSpPr>
        <p:grpSpPr>
          <a:xfrm>
            <a:off x="62600" y="6193279"/>
            <a:ext cx="1289135" cy="664721"/>
            <a:chOff x="8407400" y="5845092"/>
            <a:chExt cx="1289135" cy="672559"/>
          </a:xfrm>
        </p:grpSpPr>
        <p:pic>
          <p:nvPicPr>
            <p:cNvPr id="12" name="Graphic 11" descr="List">
              <a:hlinkClick r:id="rId4" action="ppaction://hlinksldjump"/>
              <a:extLst>
                <a:ext uri="{FF2B5EF4-FFF2-40B4-BE49-F238E27FC236}">
                  <a16:creationId xmlns:a16="http://schemas.microsoft.com/office/drawing/2014/main" id="{9B1DDBFE-6F46-4744-A6B1-DF8CF480F21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E737768-A1CE-47D6-98C0-AA8017CDD2CE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 dirty="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177960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BC577F-832B-45E1-9A3C-2459BBD9A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675" y="144859"/>
            <a:ext cx="9829800" cy="457200"/>
          </a:xfrm>
        </p:spPr>
        <p:txBody>
          <a:bodyPr/>
          <a:lstStyle/>
          <a:p>
            <a:r>
              <a:rPr lang="en-GB" dirty="0"/>
              <a:t>4. How to implement 5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605BFB-9DD7-4EE4-94BB-A42D5839786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216854" y="694951"/>
            <a:ext cx="8743584" cy="561974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 b="1" dirty="0">
                <a:solidFill>
                  <a:srgbClr val="666666"/>
                </a:solidFill>
              </a:rPr>
              <a:t>Prepare:</a:t>
            </a:r>
          </a:p>
          <a:p>
            <a:pPr marL="571500" lvl="1" indent="-342900">
              <a:buFont typeface="+mj-lt"/>
              <a:buAutoNum type="arabicPeriod"/>
            </a:pPr>
            <a:r>
              <a:rPr lang="en-US" sz="1800" b="1" dirty="0"/>
              <a:t>Site Leadership</a:t>
            </a:r>
            <a:r>
              <a:rPr lang="en-US" sz="1800" dirty="0"/>
              <a:t> Teams have completed 5S </a:t>
            </a:r>
            <a:r>
              <a:rPr lang="en-US" sz="1800" b="1" dirty="0"/>
              <a:t>training</a:t>
            </a:r>
            <a:r>
              <a:rPr lang="en-US" sz="1800" dirty="0"/>
              <a:t> per </a:t>
            </a:r>
            <a:r>
              <a:rPr lang="en-US" sz="1800" b="1" dirty="0">
                <a:solidFill>
                  <a:srgbClr val="666666"/>
                </a:solidFill>
                <a:cs typeface="Arial"/>
                <a:hlinkClick r:id="rId2" tooltip="Click here to assess the TEOA 5S traininng module 107"/>
              </a:rPr>
              <a:t>TEOA 107 </a:t>
            </a:r>
            <a:r>
              <a:rPr lang="en-US" sz="1800" b="1" dirty="0"/>
              <a:t>5S</a:t>
            </a:r>
            <a:r>
              <a:rPr lang="en-US" sz="1800" dirty="0"/>
              <a:t>.​</a:t>
            </a:r>
          </a:p>
          <a:p>
            <a:pPr marL="571500" lvl="1" indent="-342900">
              <a:buFont typeface="+mj-lt"/>
              <a:buAutoNum type="arabicPeriod"/>
            </a:pP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Divide the work areas into </a:t>
            </a:r>
            <a:r>
              <a:rPr lang="en-US" sz="1800" b="1" u="sng" dirty="0">
                <a:solidFill>
                  <a:srgbClr val="666666"/>
                </a:solidFill>
                <a:latin typeface="Arial"/>
                <a:cs typeface="Arial"/>
              </a:rPr>
              <a:t>manageable “Zones” and/or “Subzones”</a:t>
            </a: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 where there are sufficient people to take action to improve. Usually less than 10 (Sub)Zones per facility including all office, production, storage and outside areas.</a:t>
            </a:r>
          </a:p>
          <a:p>
            <a:pPr marL="571500" lvl="1" indent="-342900">
              <a:buFont typeface="+mj-lt"/>
              <a:buAutoNum type="arabicPeriod"/>
            </a:pP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Assign a </a:t>
            </a:r>
            <a:r>
              <a:rPr lang="en-US" sz="1800" b="1" u="sng" dirty="0">
                <a:solidFill>
                  <a:srgbClr val="666666"/>
                </a:solidFill>
                <a:latin typeface="Arial"/>
                <a:cs typeface="Arial"/>
              </a:rPr>
              <a:t>(Sub)Zone Leader</a:t>
            </a: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 who will be responsible for leading the necessary activities to increase the 5S zone score as documented on </a:t>
            </a:r>
            <a:r>
              <a:rPr lang="en-US" sz="1800" b="1" dirty="0">
                <a:solidFill>
                  <a:srgbClr val="666666"/>
                </a:solidFill>
                <a:latin typeface="Arial"/>
                <a:cs typeface="Arial"/>
                <a:hlinkClick r:id="rId3" tooltip="Click here to access the Form 5102 on the TEOA SahrePoint"/>
              </a:rPr>
              <a:t>Form 5102</a:t>
            </a: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. </a:t>
            </a:r>
          </a:p>
          <a:p>
            <a:pPr marL="571500" lvl="1" indent="-342900">
              <a:buFont typeface="+mj-lt"/>
              <a:buAutoNum type="arabicPeriod"/>
            </a:pP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Form a </a:t>
            </a:r>
            <a:r>
              <a:rPr lang="en-US" sz="1800" b="1" u="sng" dirty="0">
                <a:solidFill>
                  <a:srgbClr val="666666"/>
                </a:solidFill>
                <a:latin typeface="Arial"/>
                <a:cs typeface="Arial"/>
              </a:rPr>
              <a:t>core implementation team</a:t>
            </a: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 to lead the planning process and manage the implementation. This team is usually comprised by the TEOA Site leader and a 5S coordinator/champion.</a:t>
            </a:r>
          </a:p>
          <a:p>
            <a:pPr marL="571500" lvl="1" indent="-342900">
              <a:buFont typeface="+mj-lt"/>
              <a:buAutoNum type="arabicPeriod"/>
            </a:pPr>
            <a:r>
              <a:rPr lang="en-US" sz="1800" b="1" u="sng" dirty="0">
                <a:solidFill>
                  <a:srgbClr val="666666"/>
                </a:solidFill>
                <a:latin typeface="Arial"/>
                <a:cs typeface="Arial"/>
              </a:rPr>
              <a:t>Introduce the concept of 5S </a:t>
            </a: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to all the (Sub)Zone Leaders and shop floor workers. It can either be used the Training Material </a:t>
            </a:r>
            <a:r>
              <a:rPr lang="en-US" sz="1800" b="1" dirty="0">
                <a:solidFill>
                  <a:srgbClr val="666666"/>
                </a:solidFill>
                <a:latin typeface="Arial"/>
                <a:cs typeface="Arial"/>
                <a:hlinkClick r:id="rId2" tooltip="Click here to assess the TEOA 5S traininng module 107"/>
              </a:rPr>
              <a:t>TEOA 107 </a:t>
            </a: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or the </a:t>
            </a:r>
            <a:r>
              <a:rPr lang="en-US" sz="1800" b="1" dirty="0">
                <a:solidFill>
                  <a:srgbClr val="666666"/>
                </a:solidFill>
                <a:latin typeface="Arial"/>
                <a:cs typeface="Arial"/>
                <a:hlinkClick r:id="rId4" tooltip="Click here to watch an introduction to 5S from the GEMBA Academy"/>
              </a:rPr>
              <a:t>Introduction 5S</a:t>
            </a:r>
            <a:r>
              <a:rPr lang="en-US" sz="1800" b="1" dirty="0">
                <a:solidFill>
                  <a:srgbClr val="666666"/>
                </a:solidFill>
                <a:latin typeface="Arial"/>
                <a:cs typeface="Arial"/>
              </a:rPr>
              <a:t> </a:t>
            </a: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training video from the GEMBA Academy to the team.</a:t>
            </a:r>
          </a:p>
          <a:p>
            <a:pPr marL="571500" lvl="1" indent="-342900">
              <a:buFont typeface="+mj-lt"/>
              <a:buAutoNum type="arabicPeriod"/>
            </a:pP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Create and install a </a:t>
            </a:r>
            <a:r>
              <a:rPr lang="en-US" sz="1800" b="1" u="sng" dirty="0">
                <a:solidFill>
                  <a:srgbClr val="666666"/>
                </a:solidFill>
                <a:latin typeface="Arial"/>
                <a:cs typeface="Arial"/>
              </a:rPr>
              <a:t>display/communication board</a:t>
            </a:r>
            <a:r>
              <a:rPr lang="en-US" sz="1800" dirty="0">
                <a:solidFill>
                  <a:srgbClr val="666666"/>
                </a:solidFill>
                <a:latin typeface="Arial"/>
                <a:cs typeface="Arial"/>
              </a:rPr>
              <a:t> for each (sub)zone where the weekly audit results can be displayed. </a:t>
            </a:r>
            <a:endParaRPr lang="en-US" sz="2800" b="1" dirty="0">
              <a:solidFill>
                <a:srgbClr val="666666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2161AB3-A986-450F-B6D0-785180293FB5}"/>
              </a:ext>
            </a:extLst>
          </p:cNvPr>
          <p:cNvSpPr/>
          <p:nvPr/>
        </p:nvSpPr>
        <p:spPr>
          <a:xfrm>
            <a:off x="9380528" y="2481622"/>
            <a:ext cx="2695094" cy="43088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Refer to </a:t>
            </a:r>
            <a:r>
              <a:rPr lang="en-US" sz="1100" dirty="0">
                <a:solidFill>
                  <a:schemeClr val="tx1">
                    <a:lumMod val="50000"/>
                  </a:schemeClr>
                </a:solidFill>
                <a:hlinkClick r:id="rId2"/>
              </a:rPr>
              <a:t>T</a:t>
            </a:r>
            <a:r>
              <a:rPr lang="en-US" sz="1100" b="1" dirty="0">
                <a:solidFill>
                  <a:schemeClr val="tx1">
                    <a:lumMod val="50000"/>
                  </a:schemeClr>
                </a:solidFill>
                <a:hlinkClick r:id="rId2"/>
              </a:rPr>
              <a:t>EOA 107 5S</a:t>
            </a:r>
            <a:r>
              <a:rPr lang="en-US" sz="1100" b="1" dirty="0">
                <a:solidFill>
                  <a:schemeClr val="tx1">
                    <a:lumMod val="50000"/>
                  </a:schemeClr>
                </a:solidFill>
              </a:rPr>
              <a:t> for Training Materials and Supporting templates</a:t>
            </a:r>
          </a:p>
        </p:txBody>
      </p:sp>
      <p:pic>
        <p:nvPicPr>
          <p:cNvPr id="10" name="Picture 9">
            <a:hlinkClick r:id="rId5" action="ppaction://hlinksldjump"/>
            <a:extLst>
              <a:ext uri="{FF2B5EF4-FFF2-40B4-BE49-F238E27FC236}">
                <a16:creationId xmlns:a16="http://schemas.microsoft.com/office/drawing/2014/main" id="{D0296A8C-A6EC-4CCE-8624-D1206F0F5AE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1759" y="6314698"/>
            <a:ext cx="696600" cy="41402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E7A18E4C-9458-4C24-97F9-27D30279E2DC}"/>
              </a:ext>
            </a:extLst>
          </p:cNvPr>
          <p:cNvGrpSpPr/>
          <p:nvPr/>
        </p:nvGrpSpPr>
        <p:grpSpPr>
          <a:xfrm>
            <a:off x="51516" y="6193279"/>
            <a:ext cx="1289135" cy="664721"/>
            <a:chOff x="8407400" y="5845092"/>
            <a:chExt cx="1289135" cy="672559"/>
          </a:xfrm>
        </p:grpSpPr>
        <p:pic>
          <p:nvPicPr>
            <p:cNvPr id="12" name="Graphic 11" descr="List">
              <a:hlinkClick r:id="rId7" action="ppaction://hlinksldjump"/>
              <a:extLst>
                <a:ext uri="{FF2B5EF4-FFF2-40B4-BE49-F238E27FC236}">
                  <a16:creationId xmlns:a16="http://schemas.microsoft.com/office/drawing/2014/main" id="{7064F947-E893-42CD-92A1-4F14AD3ED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757825" y="5845092"/>
              <a:ext cx="468725" cy="468725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CEDB00A-E775-40B8-94A0-AB5BA3450A6B}"/>
                </a:ext>
              </a:extLst>
            </p:cNvPr>
            <p:cNvSpPr/>
            <p:nvPr/>
          </p:nvSpPr>
          <p:spPr>
            <a:xfrm>
              <a:off x="8407400" y="6256041"/>
              <a:ext cx="128913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50" dirty="0">
                  <a:solidFill>
                    <a:schemeClr val="bg2"/>
                  </a:solidFill>
                </a:rPr>
                <a:t>Return to Agenda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D336E634-B7E9-4F02-98D5-B6313B3EF41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94800" y="2986449"/>
            <a:ext cx="2155522" cy="27115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B583B63-5337-4354-AC63-3D2ED0DBBB6F}"/>
              </a:ext>
            </a:extLst>
          </p:cNvPr>
          <p:cNvSpPr/>
          <p:nvPr/>
        </p:nvSpPr>
        <p:spPr>
          <a:xfrm>
            <a:off x="9032516" y="5790919"/>
            <a:ext cx="248271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Example of Display/Communications board from IND </a:t>
            </a:r>
            <a:r>
              <a:rPr lang="en-US" sz="1100" dirty="0" err="1">
                <a:solidFill>
                  <a:schemeClr val="tx1">
                    <a:lumMod val="50000"/>
                  </a:schemeClr>
                </a:solidFill>
              </a:rPr>
              <a:t>Waidhofen</a:t>
            </a: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 Site</a:t>
            </a:r>
            <a:endParaRPr lang="en-US" sz="1100" b="1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B5AD38AE-27AA-4390-B0AD-63C4627A18E1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800" y="805796"/>
            <a:ext cx="2026355" cy="15323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A549AE0-715F-47E0-9F11-48690CC416C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11803" y="2421054"/>
            <a:ext cx="468725" cy="46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1134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muwGM7vE6nQZzOYB8O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muwGM7vE6nQZzOYB8O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VR1vbHNEKwcuiSC9a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VR1vbHNEKwcuiSC9a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VR1vbHNEKwcuiSC9a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VR1vbHNEKwcuiSC9a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VR1vbHNEKwcuiSC9a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VR1vbHNEKwcuiSC9a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VR1vbHNEKwcuiSC9a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4wb44hVk6Esz_xM7n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muwGM7vE6nQZzOYB8O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muwGM7vE6nQZzOYB8OvQ"/>
</p:tagLst>
</file>

<file path=ppt/theme/theme1.xml><?xml version="1.0" encoding="utf-8"?>
<a:theme xmlns:a="http://schemas.openxmlformats.org/drawingml/2006/main" name="TE Brand 2020 Theme1">
  <a:themeElements>
    <a:clrScheme name="New">
      <a:dk1>
        <a:srgbClr val="666666"/>
      </a:dk1>
      <a:lt1>
        <a:srgbClr val="FFFFFF"/>
      </a:lt1>
      <a:dk2>
        <a:srgbClr val="FFFFFF"/>
      </a:dk2>
      <a:lt2>
        <a:srgbClr val="E98300"/>
      </a:lt2>
      <a:accent1>
        <a:srgbClr val="E98300"/>
      </a:accent1>
      <a:accent2>
        <a:srgbClr val="666666"/>
      </a:accent2>
      <a:accent3>
        <a:srgbClr val="0066A1"/>
      </a:accent3>
      <a:accent4>
        <a:srgbClr val="3CB7E3"/>
      </a:accent4>
      <a:accent5>
        <a:srgbClr val="FCD350"/>
      </a:accent5>
      <a:accent6>
        <a:srgbClr val="CD202C"/>
      </a:accent6>
      <a:hlink>
        <a:srgbClr val="0066A1"/>
      </a:hlink>
      <a:folHlink>
        <a:srgbClr val="0066A1"/>
      </a:folHlink>
    </a:clrScheme>
    <a:fontScheme name="T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 Brand 2020 Theme1" id="{12899FE3-C2AC-41DA-9923-DD3E7B78135E}" vid="{32FF061F-6323-48F2-9466-41EE6710266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7A1BBB0C65B294CA7DCA4A3CE828199" ma:contentTypeVersion="1" ma:contentTypeDescription="Create a new document." ma:contentTypeScope="" ma:versionID="4267dc8f915110def69a0010305e1e16">
  <xsd:schema xmlns:xsd="http://www.w3.org/2001/XMLSchema" xmlns:xs="http://www.w3.org/2001/XMLSchema" xmlns:p="http://schemas.microsoft.com/office/2006/metadata/properties" xmlns:ns2="dbcfff2c-5cce-4cb7-b05b-d3b2e8ac169c" xmlns:ns3="36b2ca4c-9cb9-4390-9c92-9d5e0fe0f0b4" targetNamespace="http://schemas.microsoft.com/office/2006/metadata/properties" ma:root="true" ma:fieldsID="3409fdb901b3d6c5cf251c5765371717" ns2:_="" ns3:_="">
    <xsd:import namespace="dbcfff2c-5cce-4cb7-b05b-d3b2e8ac169c"/>
    <xsd:import namespace="36b2ca4c-9cb9-4390-9c92-9d5e0fe0f0b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u08j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cfff2c-5cce-4cb7-b05b-d3b2e8ac169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b2ca4c-9cb9-4390-9c92-9d5e0fe0f0b4" elementFormDefault="qualified">
    <xsd:import namespace="http://schemas.microsoft.com/office/2006/documentManagement/types"/>
    <xsd:import namespace="http://schemas.microsoft.com/office/infopath/2007/PartnerControls"/>
    <xsd:element name="u08j" ma:index="11" nillable="true" ma:displayName="Link to Training Materials" ma:internalName="u08j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dbcfff2c-5cce-4cb7-b05b-d3b2e8ac169c">VMM2RVFH342Q-1513051167-63</_dlc_DocId>
    <_dlc_DocIdUrl xmlns="dbcfff2c-5cce-4cb7-b05b-d3b2e8ac169c">
      <Url>https://teams.connect.te.com/sites/TEOA/_layouts/15/DocIdRedir.aspx?ID=VMM2RVFH342Q-1513051167-63</Url>
      <Description>VMM2RVFH342Q-1513051167-63</Description>
    </_dlc_DocIdUrl>
    <u08j xmlns="36b2ca4c-9cb9-4390-9c92-9d5e0fe0f0b4">https://teams.connect.te.com/sites/TEOA/instructor%20workspace/English%20Modules/Forms/AllItems.aspx?RootFolder=%2Fsites%2FTEOA%2Finstructor%20workspace%2FEnglish%20Modules%2FTEOA%20107%205S&amp;FolderCTID=0x0120000233B35DFAE61A48B6339E92CA4ECB1A&amp;View=%7B0046</u08j>
  </documentManagement>
</p:properties>
</file>

<file path=customXml/itemProps1.xml><?xml version="1.0" encoding="utf-8"?>
<ds:datastoreItem xmlns:ds="http://schemas.openxmlformats.org/officeDocument/2006/customXml" ds:itemID="{1E444FB7-3F13-401D-BA5B-4B8A989B63F3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39D8158C-EFF1-4342-945A-EA05647ACE33}"/>
</file>

<file path=customXml/itemProps3.xml><?xml version="1.0" encoding="utf-8"?>
<ds:datastoreItem xmlns:ds="http://schemas.openxmlformats.org/officeDocument/2006/customXml" ds:itemID="{5B0C959A-E494-4BD5-A42B-E69F0C81AF1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89342B4-7A07-4881-B7CA-75335F2B90A3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dbcfff2c-5cce-4cb7-b05b-d3b2e8ac169c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 Brand 2020 Theme1</Template>
  <TotalTime>1546</TotalTime>
  <Words>1245</Words>
  <Application>Microsoft Office PowerPoint</Application>
  <PresentationFormat>Widescreen</PresentationFormat>
  <Paragraphs>223</Paragraphs>
  <Slides>2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Wingdings</vt:lpstr>
      <vt:lpstr>TE Brand 2020 Theme1</vt:lpstr>
      <vt:lpstr>Diagramm</vt:lpstr>
      <vt:lpstr>5S &amp; Visual Management Playbook  TEC-406-160018 </vt:lpstr>
      <vt:lpstr>Using this Playbook – What do the Icons Mean?</vt:lpstr>
      <vt:lpstr>TEOA – Operations Management System</vt:lpstr>
      <vt:lpstr>5S</vt:lpstr>
      <vt:lpstr>5S Overview</vt:lpstr>
      <vt:lpstr>1. 5S Definition</vt:lpstr>
      <vt:lpstr>2. What is the purpose</vt:lpstr>
      <vt:lpstr>3. Why Use 5S</vt:lpstr>
      <vt:lpstr>4. How to implement 5S</vt:lpstr>
      <vt:lpstr>4. How to implement 5S</vt:lpstr>
      <vt:lpstr>4. How to implement 5S</vt:lpstr>
      <vt:lpstr>5S Best Practice Examples</vt:lpstr>
      <vt:lpstr>5S Best Practice Examples</vt:lpstr>
      <vt:lpstr>5S Best Practice Examples</vt:lpstr>
      <vt:lpstr>5S Best Practice Examples</vt:lpstr>
      <vt:lpstr>5S Best Practice Examples</vt:lpstr>
      <vt:lpstr>5S Best Practice Digital Examples</vt:lpstr>
      <vt:lpstr>5S “The Numbers Game”</vt:lpstr>
      <vt:lpstr>5 Access to Shared Best Practices</vt:lpstr>
      <vt:lpstr>5S - Improvement Over time</vt:lpstr>
      <vt:lpstr>Questions to Consider around 5S Deploy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5S Playbook And Visual Management Playbook</dc:title>
  <dc:creator>O'Neill, Dermot</dc:creator>
  <cp:lastModifiedBy>O'Neill, Dermot</cp:lastModifiedBy>
  <cp:revision>60</cp:revision>
  <cp:lastPrinted>2020-06-11T08:54:29Z</cp:lastPrinted>
  <dcterms:created xsi:type="dcterms:W3CDTF">2020-06-02T07:32:50Z</dcterms:created>
  <dcterms:modified xsi:type="dcterms:W3CDTF">2020-12-15T11:2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A1BBB0C65B294CA7DCA4A3CE828199</vt:lpwstr>
  </property>
  <property fmtid="{D5CDD505-2E9C-101B-9397-08002B2CF9AE}" pid="3" name="_dlc_DocIdItemGuid">
    <vt:lpwstr>c6e2d929-30b4-4014-bad2-b0136fac1b87</vt:lpwstr>
  </property>
</Properties>
</file>